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</p:sldMasterIdLst>
  <p:notesMasterIdLst>
    <p:notesMasterId r:id="rId14"/>
  </p:notesMasterIdLst>
  <p:handoutMasterIdLst>
    <p:handoutMasterId r:id="rId15"/>
  </p:handoutMasterIdLst>
  <p:sldIdLst>
    <p:sldId id="531" r:id="rId13"/>
  </p:sldIdLst>
  <p:sldSz cx="13442950" cy="7561263"/>
  <p:notesSz cx="6858000" cy="9144000"/>
  <p:custDataLst>
    <p:tags r:id="rId1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4B1B35E-DE9E-42BE-8D1C-F5884F4D2E07}">
          <p14:sldIdLst/>
        </p14:section>
        <p14:section name="Untitled Section" id="{C1AA934D-5C6F-4105-8EAC-BA37A69132C1}">
          <p14:sldIdLst>
            <p14:sldId id="53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0099"/>
    <a:srgbClr val="FF00FF"/>
    <a:srgbClr val="FFFFFF"/>
    <a:srgbClr val="FB3449"/>
    <a:srgbClr val="000000"/>
    <a:srgbClr val="CAC8C8"/>
    <a:srgbClr val="8547AD"/>
    <a:srgbClr val="33006F"/>
    <a:srgbClr val="0099A8"/>
    <a:srgbClr val="EA57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946" autoAdjust="0"/>
    <p:restoredTop sz="93953" autoAdjust="0"/>
  </p:normalViewPr>
  <p:slideViewPr>
    <p:cSldViewPr snapToGrid="0">
      <p:cViewPr varScale="1">
        <p:scale>
          <a:sx n="153" d="100"/>
          <a:sy n="153" d="100"/>
        </p:scale>
        <p:origin x="248" y="17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7.xml"/><Relationship Id="rId13" Type="http://schemas.openxmlformats.org/officeDocument/2006/relationships/slide" Target="slides/slide1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2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5" Type="http://schemas.openxmlformats.org/officeDocument/2006/relationships/slideMaster" Target="slideMasters/slideMaster4.xml"/><Relationship Id="rId15" Type="http://schemas.openxmlformats.org/officeDocument/2006/relationships/handoutMaster" Target="handoutMasters/handoutMaster1.xml"/><Relationship Id="rId10" Type="http://schemas.openxmlformats.org/officeDocument/2006/relationships/slideMaster" Target="slideMasters/slideMaster9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2/4/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2/4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6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4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2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9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1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9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6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5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8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7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5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7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0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7765889" y="5071267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2" name="TextBox 20"/>
          <p:cNvSpPr txBox="1">
            <a:spLocks noChangeArrowheads="1"/>
          </p:cNvSpPr>
          <p:nvPr userDrawn="1"/>
        </p:nvSpPr>
        <p:spPr bwMode="auto">
          <a:xfrm>
            <a:off x="10662582" y="3626159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13" name="TextBox 21"/>
          <p:cNvSpPr txBox="1">
            <a:spLocks noChangeArrowheads="1"/>
          </p:cNvSpPr>
          <p:nvPr userDrawn="1"/>
        </p:nvSpPr>
        <p:spPr bwMode="auto">
          <a:xfrm>
            <a:off x="12107143" y="3626159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14" name="TextBox 22"/>
          <p:cNvSpPr txBox="1">
            <a:spLocks noChangeArrowheads="1"/>
          </p:cNvSpPr>
          <p:nvPr userDrawn="1"/>
        </p:nvSpPr>
        <p:spPr bwMode="auto">
          <a:xfrm>
            <a:off x="315711" y="5069380"/>
            <a:ext cx="9868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ultural AGP</a:t>
            </a:r>
          </a:p>
        </p:txBody>
      </p:sp>
      <p:sp>
        <p:nvSpPr>
          <p:cNvPr id="15" name="TextBox 23"/>
          <p:cNvSpPr txBox="1">
            <a:spLocks noChangeArrowheads="1"/>
          </p:cNvSpPr>
          <p:nvPr userDrawn="1"/>
        </p:nvSpPr>
        <p:spPr bwMode="auto">
          <a:xfrm>
            <a:off x="1766476" y="5072046"/>
            <a:ext cx="10334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Youth AGP</a:t>
            </a:r>
          </a:p>
        </p:txBody>
      </p:sp>
      <p:sp>
        <p:nvSpPr>
          <p:cNvPr id="16" name="TextBox 24"/>
          <p:cNvSpPr txBox="1">
            <a:spLocks noChangeArrowheads="1"/>
          </p:cNvSpPr>
          <p:nvPr userDrawn="1"/>
        </p:nvSpPr>
        <p:spPr bwMode="auto">
          <a:xfrm>
            <a:off x="3236161" y="5069379"/>
            <a:ext cx="1053481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emale AGP</a:t>
            </a:r>
          </a:p>
        </p:txBody>
      </p:sp>
      <p:sp>
        <p:nvSpPr>
          <p:cNvPr id="17" name="TextBox 25"/>
          <p:cNvSpPr txBox="1">
            <a:spLocks noChangeArrowheads="1"/>
          </p:cNvSpPr>
          <p:nvPr userDrawn="1"/>
        </p:nvSpPr>
        <p:spPr bwMode="auto">
          <a:xfrm>
            <a:off x="4691765" y="5071952"/>
            <a:ext cx="10728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  AGP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6221498" y="5073167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7654812" y="3991655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43"/>
          <p:cNvSpPr>
            <a:spLocks/>
          </p:cNvSpPr>
          <p:nvPr userDrawn="1"/>
        </p:nvSpPr>
        <p:spPr bwMode="auto">
          <a:xfrm>
            <a:off x="10609418" y="2530624"/>
            <a:ext cx="1080000" cy="10800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20"/>
          <p:cNvSpPr>
            <a:spLocks/>
          </p:cNvSpPr>
          <p:nvPr userDrawn="1"/>
        </p:nvSpPr>
        <p:spPr bwMode="auto">
          <a:xfrm>
            <a:off x="12086719" y="2530624"/>
            <a:ext cx="1080000" cy="10800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51"/>
          <p:cNvSpPr>
            <a:spLocks/>
          </p:cNvSpPr>
          <p:nvPr userDrawn="1"/>
        </p:nvSpPr>
        <p:spPr bwMode="auto">
          <a:xfrm>
            <a:off x="268297" y="3970395"/>
            <a:ext cx="1080000" cy="1080000"/>
          </a:xfrm>
          <a:custGeom>
            <a:avLst/>
            <a:gdLst>
              <a:gd name="T0" fmla="*/ 304829 w 1085850"/>
              <a:gd name="T1" fmla="*/ 608013 h 1087437"/>
              <a:gd name="T2" fmla="*/ 282994 w 1085850"/>
              <a:gd name="T3" fmla="*/ 635000 h 1087437"/>
              <a:gd name="T4" fmla="*/ 262718 w 1085850"/>
              <a:gd name="T5" fmla="*/ 608013 h 1087437"/>
              <a:gd name="T6" fmla="*/ 365587 w 1085850"/>
              <a:gd name="T7" fmla="*/ 568325 h 1087437"/>
              <a:gd name="T8" fmla="*/ 381751 w 1085850"/>
              <a:gd name="T9" fmla="*/ 599281 h 1087437"/>
              <a:gd name="T10" fmla="*/ 349423 w 1085850"/>
              <a:gd name="T11" fmla="*/ 608806 h 1087437"/>
              <a:gd name="T12" fmla="*/ 345383 w 1085850"/>
              <a:gd name="T13" fmla="*/ 574675 h 1087437"/>
              <a:gd name="T14" fmla="*/ 219075 w 1085850"/>
              <a:gd name="T15" fmla="*/ 574675 h 1087437"/>
              <a:gd name="T16" fmla="*/ 215900 w 1085850"/>
              <a:gd name="T17" fmla="*/ 608806 h 1087437"/>
              <a:gd name="T18" fmla="*/ 182563 w 1085850"/>
              <a:gd name="T19" fmla="*/ 599281 h 1087437"/>
              <a:gd name="T20" fmla="*/ 198438 w 1085850"/>
              <a:gd name="T21" fmla="*/ 568325 h 1087437"/>
              <a:gd name="T22" fmla="*/ 225425 w 1085850"/>
              <a:gd name="T23" fmla="*/ 501159 h 1087437"/>
              <a:gd name="T24" fmla="*/ 203200 w 1085850"/>
              <a:gd name="T25" fmla="*/ 528637 h 1087437"/>
              <a:gd name="T26" fmla="*/ 180975 w 1085850"/>
              <a:gd name="T27" fmla="*/ 501159 h 1087437"/>
              <a:gd name="T28" fmla="*/ 592138 w 1085850"/>
              <a:gd name="T29" fmla="*/ 569912 h 1087437"/>
              <a:gd name="T30" fmla="*/ 913513 w 1085850"/>
              <a:gd name="T31" fmla="*/ 488156 h 1087437"/>
              <a:gd name="T32" fmla="*/ 901405 w 1085850"/>
              <a:gd name="T33" fmla="*/ 534988 h 1087437"/>
              <a:gd name="T34" fmla="*/ 894157 w 1085850"/>
              <a:gd name="T35" fmla="*/ 565944 h 1087437"/>
              <a:gd name="T36" fmla="*/ 959640 w 1085850"/>
              <a:gd name="T37" fmla="*/ 496094 h 1087437"/>
              <a:gd name="T38" fmla="*/ 828675 w 1085850"/>
              <a:gd name="T39" fmla="*/ 447675 h 1087437"/>
              <a:gd name="T40" fmla="*/ 545830 w 1085850"/>
              <a:gd name="T41" fmla="*/ 447675 h 1087437"/>
              <a:gd name="T42" fmla="*/ 307195 w 1085850"/>
              <a:gd name="T43" fmla="*/ 465138 h 1087437"/>
              <a:gd name="T44" fmla="*/ 285360 w 1085850"/>
              <a:gd name="T45" fmla="*/ 492125 h 1087437"/>
              <a:gd name="T46" fmla="*/ 265085 w 1085850"/>
              <a:gd name="T47" fmla="*/ 465138 h 1087437"/>
              <a:gd name="T48" fmla="*/ 708026 w 1085850"/>
              <a:gd name="T49" fmla="*/ 447675 h 1087437"/>
              <a:gd name="T50" fmla="*/ 667544 w 1085850"/>
              <a:gd name="T51" fmla="*/ 500063 h 1087437"/>
              <a:gd name="T52" fmla="*/ 685007 w 1085850"/>
              <a:gd name="T53" fmla="*/ 633413 h 1087437"/>
              <a:gd name="T54" fmla="*/ 757238 w 1085850"/>
              <a:gd name="T55" fmla="*/ 640556 h 1087437"/>
              <a:gd name="T56" fmla="*/ 760413 w 1085850"/>
              <a:gd name="T57" fmla="*/ 567531 h 1087437"/>
              <a:gd name="T58" fmla="*/ 735013 w 1085850"/>
              <a:gd name="T59" fmla="*/ 619919 h 1087437"/>
              <a:gd name="T60" fmla="*/ 706438 w 1085850"/>
              <a:gd name="T61" fmla="*/ 524669 h 1087437"/>
              <a:gd name="T62" fmla="*/ 746126 w 1085850"/>
              <a:gd name="T63" fmla="*/ 477044 h 1087437"/>
              <a:gd name="T64" fmla="*/ 790576 w 1085850"/>
              <a:gd name="T65" fmla="*/ 469106 h 1087437"/>
              <a:gd name="T66" fmla="*/ 289314 w 1085850"/>
              <a:gd name="T67" fmla="*/ 414333 h 1087437"/>
              <a:gd name="T68" fmla="*/ 140437 w 1085850"/>
              <a:gd name="T69" fmla="*/ 477633 h 1087437"/>
              <a:gd name="T70" fmla="*/ 115888 w 1085850"/>
              <a:gd name="T71" fmla="*/ 562298 h 1087437"/>
              <a:gd name="T72" fmla="*/ 176073 w 1085850"/>
              <a:gd name="T73" fmla="*/ 637468 h 1087437"/>
              <a:gd name="T74" fmla="*/ 355042 w 1085850"/>
              <a:gd name="T75" fmla="*/ 658041 h 1087437"/>
              <a:gd name="T76" fmla="*/ 449278 w 1085850"/>
              <a:gd name="T77" fmla="*/ 590784 h 1087437"/>
              <a:gd name="T78" fmla="*/ 439775 w 1085850"/>
              <a:gd name="T79" fmla="*/ 535395 h 1087437"/>
              <a:gd name="T80" fmla="*/ 357418 w 1085850"/>
              <a:gd name="T81" fmla="*/ 493459 h 1087437"/>
              <a:gd name="T82" fmla="*/ 399388 w 1085850"/>
              <a:gd name="T83" fmla="*/ 457061 h 1087437"/>
              <a:gd name="T84" fmla="*/ 388302 w 1085850"/>
              <a:gd name="T85" fmla="*/ 421454 h 1087437"/>
              <a:gd name="T86" fmla="*/ 598488 w 1085850"/>
              <a:gd name="T87" fmla="*/ 2381 h 1087437"/>
              <a:gd name="T88" fmla="*/ 823913 w 1085850"/>
              <a:gd name="T89" fmla="*/ 78581 h 1087437"/>
              <a:gd name="T90" fmla="*/ 993775 w 1085850"/>
              <a:gd name="T91" fmla="*/ 239713 h 1087437"/>
              <a:gd name="T92" fmla="*/ 1079500 w 1085850"/>
              <a:gd name="T93" fmla="*/ 461169 h 1087437"/>
              <a:gd name="T94" fmla="*/ 1061244 w 1085850"/>
              <a:gd name="T95" fmla="*/ 704850 h 1087437"/>
              <a:gd name="T96" fmla="*/ 944563 w 1085850"/>
              <a:gd name="T97" fmla="*/ 908843 h 1087437"/>
              <a:gd name="T98" fmla="*/ 754063 w 1085850"/>
              <a:gd name="T99" fmla="*/ 1044575 h 1087437"/>
              <a:gd name="T100" fmla="*/ 514350 w 1085850"/>
              <a:gd name="T101" fmla="*/ 1085850 h 1087437"/>
              <a:gd name="T102" fmla="*/ 283369 w 1085850"/>
              <a:gd name="T103" fmla="*/ 1022350 h 1087437"/>
              <a:gd name="T104" fmla="*/ 107950 w 1085850"/>
              <a:gd name="T105" fmla="*/ 868362 h 1087437"/>
              <a:gd name="T106" fmla="*/ 11113 w 1085850"/>
              <a:gd name="T107" fmla="*/ 653256 h 1087437"/>
              <a:gd name="T108" fmla="*/ 17463 w 1085850"/>
              <a:gd name="T109" fmla="*/ 407194 h 1087437"/>
              <a:gd name="T110" fmla="*/ 123825 w 1085850"/>
              <a:gd name="T111" fmla="*/ 198438 h 1087437"/>
              <a:gd name="T112" fmla="*/ 307975 w 1085850"/>
              <a:gd name="T113" fmla="*/ 53975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5850" h="1087437">
                <a:moveTo>
                  <a:pt x="279874" y="590550"/>
                </a:moveTo>
                <a:lnTo>
                  <a:pt x="282994" y="590550"/>
                </a:lnTo>
                <a:lnTo>
                  <a:pt x="288452" y="590550"/>
                </a:lnTo>
                <a:lnTo>
                  <a:pt x="291572" y="591344"/>
                </a:lnTo>
                <a:lnTo>
                  <a:pt x="296251" y="594519"/>
                </a:lnTo>
                <a:lnTo>
                  <a:pt x="299370" y="596900"/>
                </a:lnTo>
                <a:lnTo>
                  <a:pt x="301709" y="600075"/>
                </a:lnTo>
                <a:lnTo>
                  <a:pt x="304049" y="604044"/>
                </a:lnTo>
                <a:lnTo>
                  <a:pt x="304829" y="608013"/>
                </a:lnTo>
                <a:lnTo>
                  <a:pt x="306388" y="612775"/>
                </a:lnTo>
                <a:lnTo>
                  <a:pt x="304829" y="615950"/>
                </a:lnTo>
                <a:lnTo>
                  <a:pt x="304049" y="621506"/>
                </a:lnTo>
                <a:lnTo>
                  <a:pt x="301709" y="624681"/>
                </a:lnTo>
                <a:lnTo>
                  <a:pt x="299370" y="628650"/>
                </a:lnTo>
                <a:lnTo>
                  <a:pt x="296251" y="631031"/>
                </a:lnTo>
                <a:lnTo>
                  <a:pt x="291572" y="632619"/>
                </a:lnTo>
                <a:lnTo>
                  <a:pt x="288452" y="635000"/>
                </a:lnTo>
                <a:lnTo>
                  <a:pt x="282994" y="635000"/>
                </a:lnTo>
                <a:lnTo>
                  <a:pt x="279874" y="635000"/>
                </a:lnTo>
                <a:lnTo>
                  <a:pt x="275195" y="632619"/>
                </a:lnTo>
                <a:lnTo>
                  <a:pt x="271296" y="631031"/>
                </a:lnTo>
                <a:lnTo>
                  <a:pt x="268957" y="628650"/>
                </a:lnTo>
                <a:lnTo>
                  <a:pt x="265058" y="624681"/>
                </a:lnTo>
                <a:lnTo>
                  <a:pt x="264278" y="621506"/>
                </a:lnTo>
                <a:lnTo>
                  <a:pt x="262718" y="615950"/>
                </a:lnTo>
                <a:lnTo>
                  <a:pt x="261938" y="612775"/>
                </a:lnTo>
                <a:lnTo>
                  <a:pt x="262718" y="608013"/>
                </a:lnTo>
                <a:lnTo>
                  <a:pt x="264278" y="604044"/>
                </a:lnTo>
                <a:lnTo>
                  <a:pt x="265058" y="600075"/>
                </a:lnTo>
                <a:lnTo>
                  <a:pt x="268957" y="596900"/>
                </a:lnTo>
                <a:lnTo>
                  <a:pt x="271296" y="594519"/>
                </a:lnTo>
                <a:lnTo>
                  <a:pt x="275195" y="591344"/>
                </a:lnTo>
                <a:lnTo>
                  <a:pt x="279874" y="590550"/>
                </a:lnTo>
                <a:close/>
                <a:moveTo>
                  <a:pt x="356697" y="568325"/>
                </a:moveTo>
                <a:lnTo>
                  <a:pt x="362354" y="568325"/>
                </a:lnTo>
                <a:lnTo>
                  <a:pt x="365587" y="568325"/>
                </a:lnTo>
                <a:lnTo>
                  <a:pt x="370436" y="569913"/>
                </a:lnTo>
                <a:lnTo>
                  <a:pt x="374477" y="572294"/>
                </a:lnTo>
                <a:lnTo>
                  <a:pt x="376902" y="574675"/>
                </a:lnTo>
                <a:lnTo>
                  <a:pt x="380943" y="577850"/>
                </a:lnTo>
                <a:lnTo>
                  <a:pt x="381751" y="581819"/>
                </a:lnTo>
                <a:lnTo>
                  <a:pt x="383367" y="585788"/>
                </a:lnTo>
                <a:lnTo>
                  <a:pt x="384175" y="590550"/>
                </a:lnTo>
                <a:lnTo>
                  <a:pt x="383367" y="594519"/>
                </a:lnTo>
                <a:lnTo>
                  <a:pt x="381751" y="599281"/>
                </a:lnTo>
                <a:lnTo>
                  <a:pt x="380943" y="602456"/>
                </a:lnTo>
                <a:lnTo>
                  <a:pt x="376902" y="604838"/>
                </a:lnTo>
                <a:lnTo>
                  <a:pt x="374477" y="608806"/>
                </a:lnTo>
                <a:lnTo>
                  <a:pt x="370436" y="610394"/>
                </a:lnTo>
                <a:lnTo>
                  <a:pt x="365587" y="611188"/>
                </a:lnTo>
                <a:lnTo>
                  <a:pt x="362354" y="612775"/>
                </a:lnTo>
                <a:lnTo>
                  <a:pt x="356697" y="611188"/>
                </a:lnTo>
                <a:lnTo>
                  <a:pt x="353464" y="610394"/>
                </a:lnTo>
                <a:lnTo>
                  <a:pt x="349423" y="608806"/>
                </a:lnTo>
                <a:lnTo>
                  <a:pt x="345383" y="604838"/>
                </a:lnTo>
                <a:lnTo>
                  <a:pt x="342958" y="602456"/>
                </a:lnTo>
                <a:lnTo>
                  <a:pt x="340533" y="599281"/>
                </a:lnTo>
                <a:lnTo>
                  <a:pt x="339725" y="594519"/>
                </a:lnTo>
                <a:lnTo>
                  <a:pt x="339725" y="590550"/>
                </a:lnTo>
                <a:lnTo>
                  <a:pt x="339725" y="585788"/>
                </a:lnTo>
                <a:lnTo>
                  <a:pt x="340533" y="581819"/>
                </a:lnTo>
                <a:lnTo>
                  <a:pt x="342958" y="577850"/>
                </a:lnTo>
                <a:lnTo>
                  <a:pt x="345383" y="574675"/>
                </a:lnTo>
                <a:lnTo>
                  <a:pt x="349423" y="572294"/>
                </a:lnTo>
                <a:lnTo>
                  <a:pt x="353464" y="569913"/>
                </a:lnTo>
                <a:lnTo>
                  <a:pt x="356697" y="568325"/>
                </a:lnTo>
                <a:close/>
                <a:moveTo>
                  <a:pt x="198438" y="568325"/>
                </a:moveTo>
                <a:lnTo>
                  <a:pt x="203200" y="568325"/>
                </a:lnTo>
                <a:lnTo>
                  <a:pt x="208756" y="568325"/>
                </a:lnTo>
                <a:lnTo>
                  <a:pt x="211931" y="569913"/>
                </a:lnTo>
                <a:lnTo>
                  <a:pt x="215900" y="572294"/>
                </a:lnTo>
                <a:lnTo>
                  <a:pt x="219075" y="574675"/>
                </a:lnTo>
                <a:lnTo>
                  <a:pt x="222250" y="577850"/>
                </a:lnTo>
                <a:lnTo>
                  <a:pt x="224631" y="581819"/>
                </a:lnTo>
                <a:lnTo>
                  <a:pt x="225425" y="585788"/>
                </a:lnTo>
                <a:lnTo>
                  <a:pt x="225425" y="590550"/>
                </a:lnTo>
                <a:lnTo>
                  <a:pt x="225425" y="594519"/>
                </a:lnTo>
                <a:lnTo>
                  <a:pt x="224631" y="599281"/>
                </a:lnTo>
                <a:lnTo>
                  <a:pt x="222250" y="602456"/>
                </a:lnTo>
                <a:lnTo>
                  <a:pt x="219075" y="604838"/>
                </a:lnTo>
                <a:lnTo>
                  <a:pt x="215900" y="608806"/>
                </a:lnTo>
                <a:lnTo>
                  <a:pt x="211931" y="610394"/>
                </a:lnTo>
                <a:lnTo>
                  <a:pt x="208756" y="611188"/>
                </a:lnTo>
                <a:lnTo>
                  <a:pt x="203200" y="612775"/>
                </a:lnTo>
                <a:lnTo>
                  <a:pt x="198438" y="611188"/>
                </a:lnTo>
                <a:lnTo>
                  <a:pt x="195263" y="610394"/>
                </a:lnTo>
                <a:lnTo>
                  <a:pt x="191294" y="608806"/>
                </a:lnTo>
                <a:lnTo>
                  <a:pt x="187325" y="604838"/>
                </a:lnTo>
                <a:lnTo>
                  <a:pt x="184944" y="602456"/>
                </a:lnTo>
                <a:lnTo>
                  <a:pt x="182563" y="599281"/>
                </a:lnTo>
                <a:lnTo>
                  <a:pt x="180975" y="594519"/>
                </a:lnTo>
                <a:lnTo>
                  <a:pt x="180975" y="590550"/>
                </a:lnTo>
                <a:lnTo>
                  <a:pt x="180975" y="585788"/>
                </a:lnTo>
                <a:lnTo>
                  <a:pt x="182563" y="581819"/>
                </a:lnTo>
                <a:lnTo>
                  <a:pt x="184944" y="577850"/>
                </a:lnTo>
                <a:lnTo>
                  <a:pt x="187325" y="574675"/>
                </a:lnTo>
                <a:lnTo>
                  <a:pt x="191294" y="572294"/>
                </a:lnTo>
                <a:lnTo>
                  <a:pt x="195263" y="569913"/>
                </a:lnTo>
                <a:lnTo>
                  <a:pt x="198438" y="568325"/>
                </a:lnTo>
                <a:close/>
                <a:moveTo>
                  <a:pt x="198438" y="484187"/>
                </a:moveTo>
                <a:lnTo>
                  <a:pt x="203200" y="484187"/>
                </a:lnTo>
                <a:lnTo>
                  <a:pt x="208756" y="484187"/>
                </a:lnTo>
                <a:lnTo>
                  <a:pt x="211931" y="484995"/>
                </a:lnTo>
                <a:lnTo>
                  <a:pt x="215900" y="487420"/>
                </a:lnTo>
                <a:lnTo>
                  <a:pt x="219075" y="489844"/>
                </a:lnTo>
                <a:lnTo>
                  <a:pt x="222250" y="493885"/>
                </a:lnTo>
                <a:lnTo>
                  <a:pt x="224631" y="497926"/>
                </a:lnTo>
                <a:lnTo>
                  <a:pt x="225425" y="501159"/>
                </a:lnTo>
                <a:lnTo>
                  <a:pt x="225425" y="506816"/>
                </a:lnTo>
                <a:lnTo>
                  <a:pt x="225425" y="510049"/>
                </a:lnTo>
                <a:lnTo>
                  <a:pt x="224631" y="514898"/>
                </a:lnTo>
                <a:lnTo>
                  <a:pt x="222250" y="518939"/>
                </a:lnTo>
                <a:lnTo>
                  <a:pt x="219075" y="522980"/>
                </a:lnTo>
                <a:lnTo>
                  <a:pt x="215900" y="525404"/>
                </a:lnTo>
                <a:lnTo>
                  <a:pt x="211931" y="526213"/>
                </a:lnTo>
                <a:lnTo>
                  <a:pt x="208756" y="528637"/>
                </a:lnTo>
                <a:lnTo>
                  <a:pt x="203200" y="528637"/>
                </a:lnTo>
                <a:lnTo>
                  <a:pt x="198438" y="528637"/>
                </a:lnTo>
                <a:lnTo>
                  <a:pt x="195263" y="526213"/>
                </a:lnTo>
                <a:lnTo>
                  <a:pt x="191294" y="525404"/>
                </a:lnTo>
                <a:lnTo>
                  <a:pt x="187325" y="522980"/>
                </a:lnTo>
                <a:lnTo>
                  <a:pt x="184944" y="518939"/>
                </a:lnTo>
                <a:lnTo>
                  <a:pt x="182563" y="514898"/>
                </a:lnTo>
                <a:lnTo>
                  <a:pt x="180975" y="510049"/>
                </a:lnTo>
                <a:lnTo>
                  <a:pt x="180975" y="506816"/>
                </a:lnTo>
                <a:lnTo>
                  <a:pt x="180975" y="501159"/>
                </a:lnTo>
                <a:lnTo>
                  <a:pt x="182563" y="497926"/>
                </a:lnTo>
                <a:lnTo>
                  <a:pt x="184944" y="493885"/>
                </a:lnTo>
                <a:lnTo>
                  <a:pt x="187325" y="489844"/>
                </a:lnTo>
                <a:lnTo>
                  <a:pt x="191294" y="487420"/>
                </a:lnTo>
                <a:lnTo>
                  <a:pt x="195263" y="484995"/>
                </a:lnTo>
                <a:lnTo>
                  <a:pt x="198438" y="484187"/>
                </a:lnTo>
                <a:close/>
                <a:moveTo>
                  <a:pt x="571096" y="481012"/>
                </a:moveTo>
                <a:lnTo>
                  <a:pt x="571905" y="481012"/>
                </a:lnTo>
                <a:lnTo>
                  <a:pt x="592138" y="569912"/>
                </a:lnTo>
                <a:lnTo>
                  <a:pt x="550863" y="569912"/>
                </a:lnTo>
                <a:lnTo>
                  <a:pt x="571096" y="481012"/>
                </a:lnTo>
                <a:close/>
                <a:moveTo>
                  <a:pt x="871538" y="476250"/>
                </a:moveTo>
                <a:lnTo>
                  <a:pt x="888490" y="476250"/>
                </a:lnTo>
                <a:lnTo>
                  <a:pt x="896562" y="477044"/>
                </a:lnTo>
                <a:lnTo>
                  <a:pt x="902212" y="478631"/>
                </a:lnTo>
                <a:lnTo>
                  <a:pt x="907862" y="481013"/>
                </a:lnTo>
                <a:lnTo>
                  <a:pt x="911091" y="484981"/>
                </a:lnTo>
                <a:lnTo>
                  <a:pt x="913513" y="488156"/>
                </a:lnTo>
                <a:lnTo>
                  <a:pt x="915934" y="492919"/>
                </a:lnTo>
                <a:lnTo>
                  <a:pt x="917549" y="499269"/>
                </a:lnTo>
                <a:lnTo>
                  <a:pt x="919163" y="507206"/>
                </a:lnTo>
                <a:lnTo>
                  <a:pt x="917549" y="514350"/>
                </a:lnTo>
                <a:lnTo>
                  <a:pt x="915934" y="520700"/>
                </a:lnTo>
                <a:lnTo>
                  <a:pt x="913513" y="525463"/>
                </a:lnTo>
                <a:lnTo>
                  <a:pt x="910284" y="528638"/>
                </a:lnTo>
                <a:lnTo>
                  <a:pt x="906248" y="532606"/>
                </a:lnTo>
                <a:lnTo>
                  <a:pt x="901405" y="534988"/>
                </a:lnTo>
                <a:lnTo>
                  <a:pt x="896562" y="536575"/>
                </a:lnTo>
                <a:lnTo>
                  <a:pt x="890104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828675" y="447675"/>
                </a:moveTo>
                <a:lnTo>
                  <a:pt x="828675" y="644525"/>
                </a:lnTo>
                <a:lnTo>
                  <a:pt x="871798" y="644525"/>
                </a:lnTo>
                <a:lnTo>
                  <a:pt x="871798" y="565944"/>
                </a:lnTo>
                <a:lnTo>
                  <a:pt x="894157" y="565944"/>
                </a:lnTo>
                <a:lnTo>
                  <a:pt x="907733" y="564356"/>
                </a:lnTo>
                <a:lnTo>
                  <a:pt x="921309" y="561975"/>
                </a:lnTo>
                <a:lnTo>
                  <a:pt x="932489" y="557213"/>
                </a:lnTo>
                <a:lnTo>
                  <a:pt x="942071" y="550863"/>
                </a:lnTo>
                <a:lnTo>
                  <a:pt x="949258" y="542131"/>
                </a:lnTo>
                <a:lnTo>
                  <a:pt x="955647" y="532606"/>
                </a:lnTo>
                <a:lnTo>
                  <a:pt x="959640" y="520700"/>
                </a:lnTo>
                <a:lnTo>
                  <a:pt x="960438" y="507206"/>
                </a:lnTo>
                <a:lnTo>
                  <a:pt x="959640" y="496094"/>
                </a:lnTo>
                <a:lnTo>
                  <a:pt x="957244" y="484981"/>
                </a:lnTo>
                <a:lnTo>
                  <a:pt x="953251" y="474663"/>
                </a:lnTo>
                <a:lnTo>
                  <a:pt x="946863" y="465931"/>
                </a:lnTo>
                <a:lnTo>
                  <a:pt x="939676" y="458788"/>
                </a:lnTo>
                <a:lnTo>
                  <a:pt x="929294" y="452438"/>
                </a:lnTo>
                <a:lnTo>
                  <a:pt x="923704" y="450056"/>
                </a:lnTo>
                <a:lnTo>
                  <a:pt x="917316" y="449263"/>
                </a:lnTo>
                <a:lnTo>
                  <a:pt x="902143" y="447675"/>
                </a:lnTo>
                <a:lnTo>
                  <a:pt x="828675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8752" y="447675"/>
                </a:lnTo>
                <a:lnTo>
                  <a:pt x="545830" y="447675"/>
                </a:lnTo>
                <a:close/>
                <a:moveTo>
                  <a:pt x="281461" y="447675"/>
                </a:moveTo>
                <a:lnTo>
                  <a:pt x="285360" y="447675"/>
                </a:lnTo>
                <a:lnTo>
                  <a:pt x="290039" y="447675"/>
                </a:lnTo>
                <a:lnTo>
                  <a:pt x="293938" y="449263"/>
                </a:lnTo>
                <a:lnTo>
                  <a:pt x="298617" y="451644"/>
                </a:lnTo>
                <a:lnTo>
                  <a:pt x="300957" y="454025"/>
                </a:lnTo>
                <a:lnTo>
                  <a:pt x="303296" y="457994"/>
                </a:lnTo>
                <a:lnTo>
                  <a:pt x="305636" y="461169"/>
                </a:lnTo>
                <a:lnTo>
                  <a:pt x="307195" y="465138"/>
                </a:lnTo>
                <a:lnTo>
                  <a:pt x="307975" y="469900"/>
                </a:lnTo>
                <a:lnTo>
                  <a:pt x="307195" y="473869"/>
                </a:lnTo>
                <a:lnTo>
                  <a:pt x="305636" y="478631"/>
                </a:lnTo>
                <a:lnTo>
                  <a:pt x="303296" y="482600"/>
                </a:lnTo>
                <a:lnTo>
                  <a:pt x="300957" y="485775"/>
                </a:lnTo>
                <a:lnTo>
                  <a:pt x="298617" y="488156"/>
                </a:lnTo>
                <a:lnTo>
                  <a:pt x="293938" y="489744"/>
                </a:lnTo>
                <a:lnTo>
                  <a:pt x="290039" y="492125"/>
                </a:lnTo>
                <a:lnTo>
                  <a:pt x="285360" y="492125"/>
                </a:lnTo>
                <a:lnTo>
                  <a:pt x="281461" y="492125"/>
                </a:lnTo>
                <a:lnTo>
                  <a:pt x="276782" y="489744"/>
                </a:lnTo>
                <a:lnTo>
                  <a:pt x="273663" y="488156"/>
                </a:lnTo>
                <a:lnTo>
                  <a:pt x="270544" y="485775"/>
                </a:lnTo>
                <a:lnTo>
                  <a:pt x="267424" y="482600"/>
                </a:lnTo>
                <a:lnTo>
                  <a:pt x="265865" y="478631"/>
                </a:lnTo>
                <a:lnTo>
                  <a:pt x="265085" y="473869"/>
                </a:lnTo>
                <a:lnTo>
                  <a:pt x="263525" y="469900"/>
                </a:lnTo>
                <a:lnTo>
                  <a:pt x="265085" y="465138"/>
                </a:lnTo>
                <a:lnTo>
                  <a:pt x="265865" y="461169"/>
                </a:lnTo>
                <a:lnTo>
                  <a:pt x="267424" y="457994"/>
                </a:lnTo>
                <a:lnTo>
                  <a:pt x="270544" y="454025"/>
                </a:lnTo>
                <a:lnTo>
                  <a:pt x="273663" y="451644"/>
                </a:lnTo>
                <a:lnTo>
                  <a:pt x="276782" y="449263"/>
                </a:lnTo>
                <a:lnTo>
                  <a:pt x="281461" y="447675"/>
                </a:lnTo>
                <a:close/>
                <a:moveTo>
                  <a:pt x="725488" y="444500"/>
                </a:moveTo>
                <a:lnTo>
                  <a:pt x="716757" y="446088"/>
                </a:lnTo>
                <a:lnTo>
                  <a:pt x="708026" y="447675"/>
                </a:lnTo>
                <a:lnTo>
                  <a:pt x="700882" y="450850"/>
                </a:lnTo>
                <a:lnTo>
                  <a:pt x="694532" y="454819"/>
                </a:lnTo>
                <a:lnTo>
                  <a:pt x="688182" y="458788"/>
                </a:lnTo>
                <a:lnTo>
                  <a:pt x="683419" y="463550"/>
                </a:lnTo>
                <a:lnTo>
                  <a:pt x="679451" y="469106"/>
                </a:lnTo>
                <a:lnTo>
                  <a:pt x="676276" y="475456"/>
                </a:lnTo>
                <a:lnTo>
                  <a:pt x="672307" y="484188"/>
                </a:lnTo>
                <a:lnTo>
                  <a:pt x="669926" y="491331"/>
                </a:lnTo>
                <a:lnTo>
                  <a:pt x="667544" y="500063"/>
                </a:lnTo>
                <a:lnTo>
                  <a:pt x="665163" y="521494"/>
                </a:lnTo>
                <a:lnTo>
                  <a:pt x="665163" y="544513"/>
                </a:lnTo>
                <a:lnTo>
                  <a:pt x="665163" y="567531"/>
                </a:lnTo>
                <a:lnTo>
                  <a:pt x="667544" y="588963"/>
                </a:lnTo>
                <a:lnTo>
                  <a:pt x="669926" y="607219"/>
                </a:lnTo>
                <a:lnTo>
                  <a:pt x="672307" y="614363"/>
                </a:lnTo>
                <a:lnTo>
                  <a:pt x="676276" y="622300"/>
                </a:lnTo>
                <a:lnTo>
                  <a:pt x="679451" y="627856"/>
                </a:lnTo>
                <a:lnTo>
                  <a:pt x="685007" y="633413"/>
                </a:lnTo>
                <a:lnTo>
                  <a:pt x="689769" y="638175"/>
                </a:lnTo>
                <a:lnTo>
                  <a:pt x="694532" y="641350"/>
                </a:lnTo>
                <a:lnTo>
                  <a:pt x="701676" y="644525"/>
                </a:lnTo>
                <a:lnTo>
                  <a:pt x="708819" y="646906"/>
                </a:lnTo>
                <a:lnTo>
                  <a:pt x="717551" y="647700"/>
                </a:lnTo>
                <a:lnTo>
                  <a:pt x="726282" y="647700"/>
                </a:lnTo>
                <a:lnTo>
                  <a:pt x="739776" y="646906"/>
                </a:lnTo>
                <a:lnTo>
                  <a:pt x="752476" y="642938"/>
                </a:lnTo>
                <a:lnTo>
                  <a:pt x="757238" y="640556"/>
                </a:lnTo>
                <a:lnTo>
                  <a:pt x="762001" y="636588"/>
                </a:lnTo>
                <a:lnTo>
                  <a:pt x="765969" y="631825"/>
                </a:lnTo>
                <a:lnTo>
                  <a:pt x="770732" y="627063"/>
                </a:lnTo>
                <a:lnTo>
                  <a:pt x="770732" y="645319"/>
                </a:lnTo>
                <a:lnTo>
                  <a:pt x="801688" y="645319"/>
                </a:lnTo>
                <a:lnTo>
                  <a:pt x="801688" y="538163"/>
                </a:lnTo>
                <a:lnTo>
                  <a:pt x="733426" y="538163"/>
                </a:lnTo>
                <a:lnTo>
                  <a:pt x="733426" y="567531"/>
                </a:lnTo>
                <a:lnTo>
                  <a:pt x="760413" y="567531"/>
                </a:lnTo>
                <a:lnTo>
                  <a:pt x="760413" y="587375"/>
                </a:lnTo>
                <a:lnTo>
                  <a:pt x="760413" y="596106"/>
                </a:lnTo>
                <a:lnTo>
                  <a:pt x="758032" y="602456"/>
                </a:lnTo>
                <a:lnTo>
                  <a:pt x="755651" y="607219"/>
                </a:lnTo>
                <a:lnTo>
                  <a:pt x="752476" y="611981"/>
                </a:lnTo>
                <a:lnTo>
                  <a:pt x="748507" y="614363"/>
                </a:lnTo>
                <a:lnTo>
                  <a:pt x="743744" y="616744"/>
                </a:lnTo>
                <a:lnTo>
                  <a:pt x="739776" y="619919"/>
                </a:lnTo>
                <a:lnTo>
                  <a:pt x="735013" y="619919"/>
                </a:lnTo>
                <a:lnTo>
                  <a:pt x="727869" y="618331"/>
                </a:lnTo>
                <a:lnTo>
                  <a:pt x="723901" y="616744"/>
                </a:lnTo>
                <a:lnTo>
                  <a:pt x="719932" y="614363"/>
                </a:lnTo>
                <a:lnTo>
                  <a:pt x="715169" y="607219"/>
                </a:lnTo>
                <a:lnTo>
                  <a:pt x="711994" y="598488"/>
                </a:lnTo>
                <a:lnTo>
                  <a:pt x="708819" y="587375"/>
                </a:lnTo>
                <a:lnTo>
                  <a:pt x="708026" y="573881"/>
                </a:lnTo>
                <a:lnTo>
                  <a:pt x="706438" y="542131"/>
                </a:lnTo>
                <a:lnTo>
                  <a:pt x="706438" y="524669"/>
                </a:lnTo>
                <a:lnTo>
                  <a:pt x="708026" y="511175"/>
                </a:lnTo>
                <a:lnTo>
                  <a:pt x="710407" y="499269"/>
                </a:lnTo>
                <a:lnTo>
                  <a:pt x="712788" y="488950"/>
                </a:lnTo>
                <a:lnTo>
                  <a:pt x="716757" y="483394"/>
                </a:lnTo>
                <a:lnTo>
                  <a:pt x="721519" y="477838"/>
                </a:lnTo>
                <a:lnTo>
                  <a:pt x="727869" y="474663"/>
                </a:lnTo>
                <a:lnTo>
                  <a:pt x="735013" y="473075"/>
                </a:lnTo>
                <a:lnTo>
                  <a:pt x="741363" y="474663"/>
                </a:lnTo>
                <a:lnTo>
                  <a:pt x="746126" y="477044"/>
                </a:lnTo>
                <a:lnTo>
                  <a:pt x="750094" y="480219"/>
                </a:lnTo>
                <a:lnTo>
                  <a:pt x="753269" y="484188"/>
                </a:lnTo>
                <a:lnTo>
                  <a:pt x="755651" y="488950"/>
                </a:lnTo>
                <a:lnTo>
                  <a:pt x="758032" y="495300"/>
                </a:lnTo>
                <a:lnTo>
                  <a:pt x="759619" y="506413"/>
                </a:lnTo>
                <a:lnTo>
                  <a:pt x="798513" y="506413"/>
                </a:lnTo>
                <a:lnTo>
                  <a:pt x="798513" y="492919"/>
                </a:lnTo>
                <a:lnTo>
                  <a:pt x="795338" y="480219"/>
                </a:lnTo>
                <a:lnTo>
                  <a:pt x="790576" y="469106"/>
                </a:lnTo>
                <a:lnTo>
                  <a:pt x="784226" y="461169"/>
                </a:lnTo>
                <a:lnTo>
                  <a:pt x="780257" y="457200"/>
                </a:lnTo>
                <a:lnTo>
                  <a:pt x="775494" y="453231"/>
                </a:lnTo>
                <a:lnTo>
                  <a:pt x="764382" y="448469"/>
                </a:lnTo>
                <a:lnTo>
                  <a:pt x="750888" y="444500"/>
                </a:lnTo>
                <a:lnTo>
                  <a:pt x="735013" y="444500"/>
                </a:lnTo>
                <a:lnTo>
                  <a:pt x="725488" y="444500"/>
                </a:lnTo>
                <a:close/>
                <a:moveTo>
                  <a:pt x="301193" y="412750"/>
                </a:moveTo>
                <a:lnTo>
                  <a:pt x="289314" y="414333"/>
                </a:lnTo>
                <a:lnTo>
                  <a:pt x="265557" y="417498"/>
                </a:lnTo>
                <a:lnTo>
                  <a:pt x="251303" y="419871"/>
                </a:lnTo>
                <a:lnTo>
                  <a:pt x="235465" y="425410"/>
                </a:lnTo>
                <a:lnTo>
                  <a:pt x="218835" y="430158"/>
                </a:lnTo>
                <a:lnTo>
                  <a:pt x="202205" y="436488"/>
                </a:lnTo>
                <a:lnTo>
                  <a:pt x="184784" y="444401"/>
                </a:lnTo>
                <a:lnTo>
                  <a:pt x="168946" y="453104"/>
                </a:lnTo>
                <a:lnTo>
                  <a:pt x="153899" y="465765"/>
                </a:lnTo>
                <a:lnTo>
                  <a:pt x="140437" y="477633"/>
                </a:lnTo>
                <a:lnTo>
                  <a:pt x="134894" y="485546"/>
                </a:lnTo>
                <a:lnTo>
                  <a:pt x="129351" y="493459"/>
                </a:lnTo>
                <a:lnTo>
                  <a:pt x="126183" y="502163"/>
                </a:lnTo>
                <a:lnTo>
                  <a:pt x="122223" y="510866"/>
                </a:lnTo>
                <a:lnTo>
                  <a:pt x="119056" y="521153"/>
                </a:lnTo>
                <a:lnTo>
                  <a:pt x="117472" y="530648"/>
                </a:lnTo>
                <a:lnTo>
                  <a:pt x="115888" y="541726"/>
                </a:lnTo>
                <a:lnTo>
                  <a:pt x="115888" y="552803"/>
                </a:lnTo>
                <a:lnTo>
                  <a:pt x="115888" y="562298"/>
                </a:lnTo>
                <a:lnTo>
                  <a:pt x="119056" y="571002"/>
                </a:lnTo>
                <a:lnTo>
                  <a:pt x="121432" y="579706"/>
                </a:lnTo>
                <a:lnTo>
                  <a:pt x="124599" y="588410"/>
                </a:lnTo>
                <a:lnTo>
                  <a:pt x="128559" y="595531"/>
                </a:lnTo>
                <a:lnTo>
                  <a:pt x="133310" y="602653"/>
                </a:lnTo>
                <a:lnTo>
                  <a:pt x="139645" y="608983"/>
                </a:lnTo>
                <a:lnTo>
                  <a:pt x="145980" y="616104"/>
                </a:lnTo>
                <a:lnTo>
                  <a:pt x="159443" y="627182"/>
                </a:lnTo>
                <a:lnTo>
                  <a:pt x="176073" y="637468"/>
                </a:lnTo>
                <a:lnTo>
                  <a:pt x="193494" y="646172"/>
                </a:lnTo>
                <a:lnTo>
                  <a:pt x="213292" y="653293"/>
                </a:lnTo>
                <a:lnTo>
                  <a:pt x="233881" y="658041"/>
                </a:lnTo>
                <a:lnTo>
                  <a:pt x="254471" y="661997"/>
                </a:lnTo>
                <a:lnTo>
                  <a:pt x="275852" y="664371"/>
                </a:lnTo>
                <a:lnTo>
                  <a:pt x="296441" y="665162"/>
                </a:lnTo>
                <a:lnTo>
                  <a:pt x="317031" y="664371"/>
                </a:lnTo>
                <a:lnTo>
                  <a:pt x="336828" y="661997"/>
                </a:lnTo>
                <a:lnTo>
                  <a:pt x="355042" y="658041"/>
                </a:lnTo>
                <a:lnTo>
                  <a:pt x="372464" y="653293"/>
                </a:lnTo>
                <a:lnTo>
                  <a:pt x="383550" y="648546"/>
                </a:lnTo>
                <a:lnTo>
                  <a:pt x="393053" y="643798"/>
                </a:lnTo>
                <a:lnTo>
                  <a:pt x="403348" y="637468"/>
                </a:lnTo>
                <a:lnTo>
                  <a:pt x="411267" y="631138"/>
                </a:lnTo>
                <a:lnTo>
                  <a:pt x="427897" y="619269"/>
                </a:lnTo>
                <a:lnTo>
                  <a:pt x="439775" y="604235"/>
                </a:lnTo>
                <a:lnTo>
                  <a:pt x="444527" y="597114"/>
                </a:lnTo>
                <a:lnTo>
                  <a:pt x="449278" y="590784"/>
                </a:lnTo>
                <a:lnTo>
                  <a:pt x="451654" y="583662"/>
                </a:lnTo>
                <a:lnTo>
                  <a:pt x="454821" y="575750"/>
                </a:lnTo>
                <a:lnTo>
                  <a:pt x="455613" y="570211"/>
                </a:lnTo>
                <a:lnTo>
                  <a:pt x="455613" y="562298"/>
                </a:lnTo>
                <a:lnTo>
                  <a:pt x="455613" y="555968"/>
                </a:lnTo>
                <a:lnTo>
                  <a:pt x="453238" y="550429"/>
                </a:lnTo>
                <a:lnTo>
                  <a:pt x="450862" y="546473"/>
                </a:lnTo>
                <a:lnTo>
                  <a:pt x="446902" y="542517"/>
                </a:lnTo>
                <a:lnTo>
                  <a:pt x="439775" y="535395"/>
                </a:lnTo>
                <a:lnTo>
                  <a:pt x="428689" y="530648"/>
                </a:lnTo>
                <a:lnTo>
                  <a:pt x="416810" y="528274"/>
                </a:lnTo>
                <a:lnTo>
                  <a:pt x="404140" y="524318"/>
                </a:lnTo>
                <a:lnTo>
                  <a:pt x="392261" y="521153"/>
                </a:lnTo>
                <a:lnTo>
                  <a:pt x="381175" y="515614"/>
                </a:lnTo>
                <a:lnTo>
                  <a:pt x="372464" y="510866"/>
                </a:lnTo>
                <a:lnTo>
                  <a:pt x="365337" y="506119"/>
                </a:lnTo>
                <a:lnTo>
                  <a:pt x="359793" y="499789"/>
                </a:lnTo>
                <a:lnTo>
                  <a:pt x="357418" y="493459"/>
                </a:lnTo>
                <a:lnTo>
                  <a:pt x="356626" y="487920"/>
                </a:lnTo>
                <a:lnTo>
                  <a:pt x="357418" y="483964"/>
                </a:lnTo>
                <a:lnTo>
                  <a:pt x="359001" y="479216"/>
                </a:lnTo>
                <a:lnTo>
                  <a:pt x="363753" y="475260"/>
                </a:lnTo>
                <a:lnTo>
                  <a:pt x="370088" y="472095"/>
                </a:lnTo>
                <a:lnTo>
                  <a:pt x="378799" y="468930"/>
                </a:lnTo>
                <a:lnTo>
                  <a:pt x="386718" y="465765"/>
                </a:lnTo>
                <a:lnTo>
                  <a:pt x="394637" y="461808"/>
                </a:lnTo>
                <a:lnTo>
                  <a:pt x="399388" y="457061"/>
                </a:lnTo>
                <a:lnTo>
                  <a:pt x="403348" y="452313"/>
                </a:lnTo>
                <a:lnTo>
                  <a:pt x="406515" y="448357"/>
                </a:lnTo>
                <a:lnTo>
                  <a:pt x="408099" y="443609"/>
                </a:lnTo>
                <a:lnTo>
                  <a:pt x="408099" y="439653"/>
                </a:lnTo>
                <a:lnTo>
                  <a:pt x="406515" y="436488"/>
                </a:lnTo>
                <a:lnTo>
                  <a:pt x="405724" y="432532"/>
                </a:lnTo>
                <a:lnTo>
                  <a:pt x="403348" y="430158"/>
                </a:lnTo>
                <a:lnTo>
                  <a:pt x="397805" y="426202"/>
                </a:lnTo>
                <a:lnTo>
                  <a:pt x="388302" y="421454"/>
                </a:lnTo>
                <a:lnTo>
                  <a:pt x="376423" y="417498"/>
                </a:lnTo>
                <a:lnTo>
                  <a:pt x="359793" y="414333"/>
                </a:lnTo>
                <a:lnTo>
                  <a:pt x="341580" y="412750"/>
                </a:lnTo>
                <a:lnTo>
                  <a:pt x="321782" y="412750"/>
                </a:lnTo>
                <a:lnTo>
                  <a:pt x="301193" y="412750"/>
                </a:lnTo>
                <a:close/>
                <a:moveTo>
                  <a:pt x="514350" y="0"/>
                </a:moveTo>
                <a:lnTo>
                  <a:pt x="542925" y="0"/>
                </a:lnTo>
                <a:lnTo>
                  <a:pt x="571500" y="0"/>
                </a:lnTo>
                <a:lnTo>
                  <a:pt x="598488" y="2381"/>
                </a:lnTo>
                <a:lnTo>
                  <a:pt x="625475" y="6350"/>
                </a:lnTo>
                <a:lnTo>
                  <a:pt x="652463" y="11113"/>
                </a:lnTo>
                <a:lnTo>
                  <a:pt x="679450" y="17463"/>
                </a:lnTo>
                <a:lnTo>
                  <a:pt x="704850" y="24606"/>
                </a:lnTo>
                <a:lnTo>
                  <a:pt x="729456" y="33338"/>
                </a:lnTo>
                <a:lnTo>
                  <a:pt x="754063" y="42863"/>
                </a:lnTo>
                <a:lnTo>
                  <a:pt x="778669" y="53975"/>
                </a:lnTo>
                <a:lnTo>
                  <a:pt x="802481" y="65088"/>
                </a:lnTo>
                <a:lnTo>
                  <a:pt x="823913" y="78581"/>
                </a:lnTo>
                <a:lnTo>
                  <a:pt x="846138" y="92075"/>
                </a:lnTo>
                <a:lnTo>
                  <a:pt x="868363" y="107950"/>
                </a:lnTo>
                <a:lnTo>
                  <a:pt x="888206" y="124619"/>
                </a:lnTo>
                <a:lnTo>
                  <a:pt x="908050" y="141288"/>
                </a:lnTo>
                <a:lnTo>
                  <a:pt x="927100" y="158750"/>
                </a:lnTo>
                <a:lnTo>
                  <a:pt x="944563" y="178594"/>
                </a:lnTo>
                <a:lnTo>
                  <a:pt x="962025" y="198438"/>
                </a:lnTo>
                <a:lnTo>
                  <a:pt x="977900" y="217488"/>
                </a:lnTo>
                <a:lnTo>
                  <a:pt x="993775" y="239713"/>
                </a:lnTo>
                <a:lnTo>
                  <a:pt x="1007269" y="261938"/>
                </a:lnTo>
                <a:lnTo>
                  <a:pt x="1020763" y="284163"/>
                </a:lnTo>
                <a:lnTo>
                  <a:pt x="1032669" y="307181"/>
                </a:lnTo>
                <a:lnTo>
                  <a:pt x="1042988" y="331787"/>
                </a:lnTo>
                <a:lnTo>
                  <a:pt x="1052513" y="356394"/>
                </a:lnTo>
                <a:lnTo>
                  <a:pt x="1061244" y="382587"/>
                </a:lnTo>
                <a:lnTo>
                  <a:pt x="1068388" y="407194"/>
                </a:lnTo>
                <a:lnTo>
                  <a:pt x="1074738" y="434181"/>
                </a:lnTo>
                <a:lnTo>
                  <a:pt x="1079500" y="461169"/>
                </a:lnTo>
                <a:lnTo>
                  <a:pt x="1083469" y="488156"/>
                </a:lnTo>
                <a:lnTo>
                  <a:pt x="1085850" y="515144"/>
                </a:lnTo>
                <a:lnTo>
                  <a:pt x="1085850" y="543719"/>
                </a:lnTo>
                <a:lnTo>
                  <a:pt x="1085850" y="572294"/>
                </a:lnTo>
                <a:lnTo>
                  <a:pt x="1083469" y="599281"/>
                </a:lnTo>
                <a:lnTo>
                  <a:pt x="1079500" y="626269"/>
                </a:lnTo>
                <a:lnTo>
                  <a:pt x="1074738" y="653256"/>
                </a:lnTo>
                <a:lnTo>
                  <a:pt x="1068388" y="678656"/>
                </a:lnTo>
                <a:lnTo>
                  <a:pt x="1061244" y="704850"/>
                </a:lnTo>
                <a:lnTo>
                  <a:pt x="1052513" y="731044"/>
                </a:lnTo>
                <a:lnTo>
                  <a:pt x="1042988" y="755650"/>
                </a:lnTo>
                <a:lnTo>
                  <a:pt x="1032669" y="780256"/>
                </a:lnTo>
                <a:lnTo>
                  <a:pt x="1020763" y="803275"/>
                </a:lnTo>
                <a:lnTo>
                  <a:pt x="1007269" y="825500"/>
                </a:lnTo>
                <a:lnTo>
                  <a:pt x="993775" y="847725"/>
                </a:lnTo>
                <a:lnTo>
                  <a:pt x="977900" y="868362"/>
                </a:lnTo>
                <a:lnTo>
                  <a:pt x="962025" y="889000"/>
                </a:lnTo>
                <a:lnTo>
                  <a:pt x="944563" y="908843"/>
                </a:lnTo>
                <a:lnTo>
                  <a:pt x="927100" y="928687"/>
                </a:lnTo>
                <a:lnTo>
                  <a:pt x="908050" y="946150"/>
                </a:lnTo>
                <a:lnTo>
                  <a:pt x="888206" y="962818"/>
                </a:lnTo>
                <a:lnTo>
                  <a:pt x="868363" y="979487"/>
                </a:lnTo>
                <a:lnTo>
                  <a:pt x="846138" y="995362"/>
                </a:lnTo>
                <a:lnTo>
                  <a:pt x="823913" y="1008856"/>
                </a:lnTo>
                <a:lnTo>
                  <a:pt x="802481" y="1022350"/>
                </a:lnTo>
                <a:lnTo>
                  <a:pt x="778669" y="1033462"/>
                </a:lnTo>
                <a:lnTo>
                  <a:pt x="754063" y="1044575"/>
                </a:lnTo>
                <a:lnTo>
                  <a:pt x="729456" y="1054100"/>
                </a:lnTo>
                <a:lnTo>
                  <a:pt x="704850" y="1062831"/>
                </a:lnTo>
                <a:lnTo>
                  <a:pt x="679450" y="1069975"/>
                </a:lnTo>
                <a:lnTo>
                  <a:pt x="652463" y="1076325"/>
                </a:lnTo>
                <a:lnTo>
                  <a:pt x="625475" y="1081087"/>
                </a:lnTo>
                <a:lnTo>
                  <a:pt x="598488" y="1085056"/>
                </a:lnTo>
                <a:lnTo>
                  <a:pt x="571500" y="1085850"/>
                </a:lnTo>
                <a:lnTo>
                  <a:pt x="542925" y="1087437"/>
                </a:lnTo>
                <a:lnTo>
                  <a:pt x="514350" y="1085850"/>
                </a:lnTo>
                <a:lnTo>
                  <a:pt x="487363" y="1085056"/>
                </a:lnTo>
                <a:lnTo>
                  <a:pt x="460375" y="1081087"/>
                </a:lnTo>
                <a:lnTo>
                  <a:pt x="433388" y="1076325"/>
                </a:lnTo>
                <a:lnTo>
                  <a:pt x="407988" y="1069975"/>
                </a:lnTo>
                <a:lnTo>
                  <a:pt x="381794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975" y="1033462"/>
                </a:lnTo>
                <a:lnTo>
                  <a:pt x="283369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8281" y="979487"/>
                </a:lnTo>
                <a:lnTo>
                  <a:pt x="197644" y="962818"/>
                </a:lnTo>
                <a:lnTo>
                  <a:pt x="177800" y="946150"/>
                </a:lnTo>
                <a:lnTo>
                  <a:pt x="159544" y="928687"/>
                </a:lnTo>
                <a:lnTo>
                  <a:pt x="141288" y="908843"/>
                </a:lnTo>
                <a:lnTo>
                  <a:pt x="123825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3825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7800" y="141288"/>
                </a:lnTo>
                <a:lnTo>
                  <a:pt x="197644" y="124619"/>
                </a:lnTo>
                <a:lnTo>
                  <a:pt x="218281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3369" y="65088"/>
                </a:lnTo>
                <a:lnTo>
                  <a:pt x="307975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1794" y="24606"/>
                </a:lnTo>
                <a:lnTo>
                  <a:pt x="407988" y="17463"/>
                </a:lnTo>
                <a:lnTo>
                  <a:pt x="433388" y="11113"/>
                </a:lnTo>
                <a:lnTo>
                  <a:pt x="460375" y="6350"/>
                </a:lnTo>
                <a:lnTo>
                  <a:pt x="487363" y="2381"/>
                </a:lnTo>
                <a:lnTo>
                  <a:pt x="51435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151"/>
          <p:cNvSpPr>
            <a:spLocks/>
          </p:cNvSpPr>
          <p:nvPr userDrawn="1"/>
        </p:nvSpPr>
        <p:spPr bwMode="auto">
          <a:xfrm>
            <a:off x="1745600" y="3970395"/>
            <a:ext cx="1080000" cy="1080000"/>
          </a:xfrm>
          <a:custGeom>
            <a:avLst/>
            <a:gdLst>
              <a:gd name="T0" fmla="*/ 307466 w 1087200"/>
              <a:gd name="T1" fmla="*/ 601404 h 1087200"/>
              <a:gd name="T2" fmla="*/ 333293 w 1087200"/>
              <a:gd name="T3" fmla="*/ 713322 h 1087200"/>
              <a:gd name="T4" fmla="*/ 360350 w 1087200"/>
              <a:gd name="T5" fmla="*/ 611243 h 1087200"/>
              <a:gd name="T6" fmla="*/ 394787 w 1087200"/>
              <a:gd name="T7" fmla="*/ 717011 h 1087200"/>
              <a:gd name="T8" fmla="*/ 423074 w 1087200"/>
              <a:gd name="T9" fmla="*/ 606323 h 1087200"/>
              <a:gd name="T10" fmla="*/ 412005 w 1087200"/>
              <a:gd name="T11" fmla="*/ 489486 h 1087200"/>
              <a:gd name="T12" fmla="*/ 131596 w 1087200"/>
              <a:gd name="T13" fmla="*/ 612472 h 1087200"/>
              <a:gd name="T14" fmla="*/ 141435 w 1087200"/>
              <a:gd name="T15" fmla="*/ 634610 h 1087200"/>
              <a:gd name="T16" fmla="*/ 180791 w 1087200"/>
              <a:gd name="T17" fmla="*/ 719470 h 1087200"/>
              <a:gd name="T18" fmla="*/ 210308 w 1087200"/>
              <a:gd name="T19" fmla="*/ 704712 h 1087200"/>
              <a:gd name="T20" fmla="*/ 239824 w 1087200"/>
              <a:gd name="T21" fmla="*/ 710861 h 1087200"/>
              <a:gd name="T22" fmla="*/ 275491 w 1087200"/>
              <a:gd name="T23" fmla="*/ 627230 h 1087200"/>
              <a:gd name="T24" fmla="*/ 212767 w 1087200"/>
              <a:gd name="T25" fmla="*/ 489486 h 1087200"/>
              <a:gd name="T26" fmla="*/ 571887 w 1087200"/>
              <a:gd name="T27" fmla="*/ 480877 h 1087200"/>
              <a:gd name="T28" fmla="*/ 915020 w 1087200"/>
              <a:gd name="T29" fmla="*/ 488256 h 1087200"/>
              <a:gd name="T30" fmla="*/ 911330 w 1087200"/>
              <a:gd name="T31" fmla="*/ 528841 h 1087200"/>
              <a:gd name="T32" fmla="*/ 830158 w 1087200"/>
              <a:gd name="T33" fmla="*/ 447671 h 1087200"/>
              <a:gd name="T34" fmla="*/ 933466 w 1087200"/>
              <a:gd name="T35" fmla="*/ 557129 h 1087200"/>
              <a:gd name="T36" fmla="*/ 958064 w 1087200"/>
              <a:gd name="T37" fmla="*/ 484567 h 1087200"/>
              <a:gd name="T38" fmla="*/ 903950 w 1087200"/>
              <a:gd name="T39" fmla="*/ 447671 h 1087200"/>
              <a:gd name="T40" fmla="*/ 610013 w 1087200"/>
              <a:gd name="T41" fmla="*/ 644449 h 1087200"/>
              <a:gd name="T42" fmla="*/ 702252 w 1087200"/>
              <a:gd name="T43" fmla="*/ 450130 h 1087200"/>
              <a:gd name="T44" fmla="*/ 671506 w 1087200"/>
              <a:gd name="T45" fmla="*/ 490716 h 1087200"/>
              <a:gd name="T46" fmla="*/ 673965 w 1087200"/>
              <a:gd name="T47" fmla="*/ 613703 h 1087200"/>
              <a:gd name="T48" fmla="*/ 710861 w 1087200"/>
              <a:gd name="T49" fmla="*/ 645679 h 1087200"/>
              <a:gd name="T50" fmla="*/ 767435 w 1087200"/>
              <a:gd name="T51" fmla="*/ 630921 h 1087200"/>
              <a:gd name="T52" fmla="*/ 762516 w 1087200"/>
              <a:gd name="T53" fmla="*/ 566968 h 1087200"/>
              <a:gd name="T54" fmla="*/ 745298 w 1087200"/>
              <a:gd name="T55" fmla="*/ 616162 h 1087200"/>
              <a:gd name="T56" fmla="*/ 713321 w 1087200"/>
              <a:gd name="T57" fmla="*/ 597714 h 1087200"/>
              <a:gd name="T58" fmla="*/ 714551 w 1087200"/>
              <a:gd name="T59" fmla="*/ 488256 h 1087200"/>
              <a:gd name="T60" fmla="*/ 751447 w 1087200"/>
              <a:gd name="T61" fmla="*/ 479647 h 1087200"/>
              <a:gd name="T62" fmla="*/ 796952 w 1087200"/>
              <a:gd name="T63" fmla="*/ 479647 h 1087200"/>
              <a:gd name="T64" fmla="*/ 736689 w 1087200"/>
              <a:gd name="T65" fmla="*/ 443981 h 1087200"/>
              <a:gd name="T66" fmla="*/ 328374 w 1087200"/>
              <a:gd name="T67" fmla="*/ 405855 h 1087200"/>
              <a:gd name="T68" fmla="*/ 334524 w 1087200"/>
              <a:gd name="T69" fmla="*/ 463659 h 1087200"/>
              <a:gd name="T70" fmla="*/ 392327 w 1087200"/>
              <a:gd name="T71" fmla="*/ 469808 h 1087200"/>
              <a:gd name="T72" fmla="*/ 408316 w 1087200"/>
              <a:gd name="T73" fmla="*/ 414464 h 1087200"/>
              <a:gd name="T74" fmla="*/ 204157 w 1087200"/>
              <a:gd name="T75" fmla="*/ 384948 h 1087200"/>
              <a:gd name="T76" fmla="*/ 158652 w 1087200"/>
              <a:gd name="T77" fmla="*/ 421844 h 1087200"/>
              <a:gd name="T78" fmla="*/ 185709 w 1087200"/>
              <a:gd name="T79" fmla="*/ 473499 h 1087200"/>
              <a:gd name="T80" fmla="*/ 242283 w 1087200"/>
              <a:gd name="T81" fmla="*/ 456280 h 1087200"/>
              <a:gd name="T82" fmla="*/ 236134 w 1087200"/>
              <a:gd name="T83" fmla="*/ 398477 h 1087200"/>
              <a:gd name="T84" fmla="*/ 571887 w 1087200"/>
              <a:gd name="T85" fmla="*/ 0 h 1087200"/>
              <a:gd name="T86" fmla="*/ 755137 w 1087200"/>
              <a:gd name="T87" fmla="*/ 43045 h 1087200"/>
              <a:gd name="T88" fmla="*/ 908870 w 1087200"/>
              <a:gd name="T89" fmla="*/ 141435 h 1087200"/>
              <a:gd name="T90" fmla="*/ 1022017 w 1087200"/>
              <a:gd name="T91" fmla="*/ 284099 h 1087200"/>
              <a:gd name="T92" fmla="*/ 1081051 w 1087200"/>
              <a:gd name="T93" fmla="*/ 461199 h 1087200"/>
              <a:gd name="T94" fmla="*/ 1076131 w 1087200"/>
              <a:gd name="T95" fmla="*/ 653058 h 1087200"/>
              <a:gd name="T96" fmla="*/ 1008489 w 1087200"/>
              <a:gd name="T97" fmla="*/ 825239 h 1087200"/>
              <a:gd name="T98" fmla="*/ 889192 w 1087200"/>
              <a:gd name="T99" fmla="*/ 962984 h 1087200"/>
              <a:gd name="T100" fmla="*/ 730540 w 1087200"/>
              <a:gd name="T101" fmla="*/ 1053994 h 1087200"/>
              <a:gd name="T102" fmla="*/ 543600 w 1087200"/>
              <a:gd name="T103" fmla="*/ 1087200 h 1087200"/>
              <a:gd name="T104" fmla="*/ 356661 w 1087200"/>
              <a:gd name="T105" fmla="*/ 1053994 h 1087200"/>
              <a:gd name="T106" fmla="*/ 198008 w 1087200"/>
              <a:gd name="T107" fmla="*/ 962984 h 1087200"/>
              <a:gd name="T108" fmla="*/ 78712 w 1087200"/>
              <a:gd name="T109" fmla="*/ 825239 h 1087200"/>
              <a:gd name="T110" fmla="*/ 11069 w 1087200"/>
              <a:gd name="T111" fmla="*/ 653058 h 1087200"/>
              <a:gd name="T112" fmla="*/ 6150 w 1087200"/>
              <a:gd name="T113" fmla="*/ 461199 h 1087200"/>
              <a:gd name="T114" fmla="*/ 65183 w 1087200"/>
              <a:gd name="T115" fmla="*/ 284099 h 1087200"/>
              <a:gd name="T116" fmla="*/ 178331 w 1087200"/>
              <a:gd name="T117" fmla="*/ 141435 h 1087200"/>
              <a:gd name="T118" fmla="*/ 332064 w 1087200"/>
              <a:gd name="T119" fmla="*/ 43045 h 1087200"/>
              <a:gd name="T120" fmla="*/ 515313 w 1087200"/>
              <a:gd name="T121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320995" y="489486"/>
                </a:moveTo>
                <a:lnTo>
                  <a:pt x="314845" y="490716"/>
                </a:lnTo>
                <a:lnTo>
                  <a:pt x="309926" y="493176"/>
                </a:lnTo>
                <a:lnTo>
                  <a:pt x="307466" y="499325"/>
                </a:lnTo>
                <a:lnTo>
                  <a:pt x="306236" y="504245"/>
                </a:lnTo>
                <a:lnTo>
                  <a:pt x="306236" y="595255"/>
                </a:lnTo>
                <a:lnTo>
                  <a:pt x="307466" y="601404"/>
                </a:lnTo>
                <a:lnTo>
                  <a:pt x="309926" y="606323"/>
                </a:lnTo>
                <a:lnTo>
                  <a:pt x="314845" y="610013"/>
                </a:lnTo>
                <a:lnTo>
                  <a:pt x="320995" y="611243"/>
                </a:lnTo>
                <a:lnTo>
                  <a:pt x="329604" y="611243"/>
                </a:lnTo>
                <a:lnTo>
                  <a:pt x="329604" y="702253"/>
                </a:lnTo>
                <a:lnTo>
                  <a:pt x="330834" y="708402"/>
                </a:lnTo>
                <a:lnTo>
                  <a:pt x="333293" y="713322"/>
                </a:lnTo>
                <a:lnTo>
                  <a:pt x="338213" y="717011"/>
                </a:lnTo>
                <a:lnTo>
                  <a:pt x="344362" y="718241"/>
                </a:lnTo>
                <a:lnTo>
                  <a:pt x="350511" y="717011"/>
                </a:lnTo>
                <a:lnTo>
                  <a:pt x="355431" y="713322"/>
                </a:lnTo>
                <a:lnTo>
                  <a:pt x="359121" y="708402"/>
                </a:lnTo>
                <a:lnTo>
                  <a:pt x="360350" y="702253"/>
                </a:lnTo>
                <a:lnTo>
                  <a:pt x="360350" y="611243"/>
                </a:lnTo>
                <a:lnTo>
                  <a:pt x="373879" y="611243"/>
                </a:lnTo>
                <a:lnTo>
                  <a:pt x="373879" y="702253"/>
                </a:lnTo>
                <a:lnTo>
                  <a:pt x="375109" y="708402"/>
                </a:lnTo>
                <a:lnTo>
                  <a:pt x="377569" y="713322"/>
                </a:lnTo>
                <a:lnTo>
                  <a:pt x="382488" y="717011"/>
                </a:lnTo>
                <a:lnTo>
                  <a:pt x="388637" y="718241"/>
                </a:lnTo>
                <a:lnTo>
                  <a:pt x="394787" y="717011"/>
                </a:lnTo>
                <a:lnTo>
                  <a:pt x="399706" y="713322"/>
                </a:lnTo>
                <a:lnTo>
                  <a:pt x="403396" y="708402"/>
                </a:lnTo>
                <a:lnTo>
                  <a:pt x="404626" y="702253"/>
                </a:lnTo>
                <a:lnTo>
                  <a:pt x="404626" y="611243"/>
                </a:lnTo>
                <a:lnTo>
                  <a:pt x="412005" y="611243"/>
                </a:lnTo>
                <a:lnTo>
                  <a:pt x="418154" y="610013"/>
                </a:lnTo>
                <a:lnTo>
                  <a:pt x="423074" y="606323"/>
                </a:lnTo>
                <a:lnTo>
                  <a:pt x="425533" y="601404"/>
                </a:lnTo>
                <a:lnTo>
                  <a:pt x="426763" y="595255"/>
                </a:lnTo>
                <a:lnTo>
                  <a:pt x="426763" y="504245"/>
                </a:lnTo>
                <a:lnTo>
                  <a:pt x="425533" y="499325"/>
                </a:lnTo>
                <a:lnTo>
                  <a:pt x="423074" y="493176"/>
                </a:lnTo>
                <a:lnTo>
                  <a:pt x="418154" y="490716"/>
                </a:lnTo>
                <a:lnTo>
                  <a:pt x="412005" y="489486"/>
                </a:lnTo>
                <a:lnTo>
                  <a:pt x="320995" y="489486"/>
                </a:lnTo>
                <a:close/>
                <a:moveTo>
                  <a:pt x="204158" y="487026"/>
                </a:moveTo>
                <a:lnTo>
                  <a:pt x="199239" y="488256"/>
                </a:lnTo>
                <a:lnTo>
                  <a:pt x="195549" y="489486"/>
                </a:lnTo>
                <a:lnTo>
                  <a:pt x="191860" y="491946"/>
                </a:lnTo>
                <a:lnTo>
                  <a:pt x="189400" y="496865"/>
                </a:lnTo>
                <a:lnTo>
                  <a:pt x="131596" y="612472"/>
                </a:lnTo>
                <a:lnTo>
                  <a:pt x="130366" y="616162"/>
                </a:lnTo>
                <a:lnTo>
                  <a:pt x="130366" y="619851"/>
                </a:lnTo>
                <a:lnTo>
                  <a:pt x="130366" y="623541"/>
                </a:lnTo>
                <a:lnTo>
                  <a:pt x="131596" y="627230"/>
                </a:lnTo>
                <a:lnTo>
                  <a:pt x="134056" y="630920"/>
                </a:lnTo>
                <a:lnTo>
                  <a:pt x="137745" y="633380"/>
                </a:lnTo>
                <a:lnTo>
                  <a:pt x="141435" y="634610"/>
                </a:lnTo>
                <a:lnTo>
                  <a:pt x="145125" y="634610"/>
                </a:lnTo>
                <a:lnTo>
                  <a:pt x="166032" y="634610"/>
                </a:lnTo>
                <a:lnTo>
                  <a:pt x="166032" y="704712"/>
                </a:lnTo>
                <a:lnTo>
                  <a:pt x="167262" y="710861"/>
                </a:lnTo>
                <a:lnTo>
                  <a:pt x="169722" y="715781"/>
                </a:lnTo>
                <a:lnTo>
                  <a:pt x="174641" y="718240"/>
                </a:lnTo>
                <a:lnTo>
                  <a:pt x="180791" y="719470"/>
                </a:lnTo>
                <a:lnTo>
                  <a:pt x="186940" y="718240"/>
                </a:lnTo>
                <a:lnTo>
                  <a:pt x="191860" y="715781"/>
                </a:lnTo>
                <a:lnTo>
                  <a:pt x="195549" y="710861"/>
                </a:lnTo>
                <a:lnTo>
                  <a:pt x="196779" y="704712"/>
                </a:lnTo>
                <a:lnTo>
                  <a:pt x="196779" y="634610"/>
                </a:lnTo>
                <a:lnTo>
                  <a:pt x="210308" y="634610"/>
                </a:lnTo>
                <a:lnTo>
                  <a:pt x="210308" y="704712"/>
                </a:lnTo>
                <a:lnTo>
                  <a:pt x="211537" y="710861"/>
                </a:lnTo>
                <a:lnTo>
                  <a:pt x="215227" y="715781"/>
                </a:lnTo>
                <a:lnTo>
                  <a:pt x="220147" y="718240"/>
                </a:lnTo>
                <a:lnTo>
                  <a:pt x="226296" y="719470"/>
                </a:lnTo>
                <a:lnTo>
                  <a:pt x="232445" y="718240"/>
                </a:lnTo>
                <a:lnTo>
                  <a:pt x="237365" y="715781"/>
                </a:lnTo>
                <a:lnTo>
                  <a:pt x="239824" y="710861"/>
                </a:lnTo>
                <a:lnTo>
                  <a:pt x="241054" y="704712"/>
                </a:lnTo>
                <a:lnTo>
                  <a:pt x="241054" y="634610"/>
                </a:lnTo>
                <a:lnTo>
                  <a:pt x="263192" y="634610"/>
                </a:lnTo>
                <a:lnTo>
                  <a:pt x="266881" y="634610"/>
                </a:lnTo>
                <a:lnTo>
                  <a:pt x="270571" y="633380"/>
                </a:lnTo>
                <a:lnTo>
                  <a:pt x="273031" y="630920"/>
                </a:lnTo>
                <a:lnTo>
                  <a:pt x="275491" y="627230"/>
                </a:lnTo>
                <a:lnTo>
                  <a:pt x="277950" y="623541"/>
                </a:lnTo>
                <a:lnTo>
                  <a:pt x="277950" y="619851"/>
                </a:lnTo>
                <a:lnTo>
                  <a:pt x="277950" y="616162"/>
                </a:lnTo>
                <a:lnTo>
                  <a:pt x="276720" y="612472"/>
                </a:lnTo>
                <a:lnTo>
                  <a:pt x="218917" y="495635"/>
                </a:lnTo>
                <a:lnTo>
                  <a:pt x="216457" y="491946"/>
                </a:lnTo>
                <a:lnTo>
                  <a:pt x="212767" y="489486"/>
                </a:lnTo>
                <a:lnTo>
                  <a:pt x="207848" y="488256"/>
                </a:lnTo>
                <a:lnTo>
                  <a:pt x="204158" y="487026"/>
                </a:lnTo>
                <a:close/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3204" y="475957"/>
                </a:moveTo>
                <a:lnTo>
                  <a:pt x="890422" y="475957"/>
                </a:lnTo>
                <a:lnTo>
                  <a:pt x="897802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20" y="488256"/>
                </a:lnTo>
                <a:lnTo>
                  <a:pt x="917480" y="493175"/>
                </a:lnTo>
                <a:lnTo>
                  <a:pt x="918709" y="499324"/>
                </a:lnTo>
                <a:lnTo>
                  <a:pt x="919939" y="506704"/>
                </a:lnTo>
                <a:lnTo>
                  <a:pt x="918709" y="514083"/>
                </a:lnTo>
                <a:lnTo>
                  <a:pt x="917480" y="520232"/>
                </a:lnTo>
                <a:lnTo>
                  <a:pt x="915020" y="525151"/>
                </a:lnTo>
                <a:lnTo>
                  <a:pt x="911330" y="528841"/>
                </a:lnTo>
                <a:lnTo>
                  <a:pt x="907641" y="532531"/>
                </a:lnTo>
                <a:lnTo>
                  <a:pt x="902721" y="534990"/>
                </a:lnTo>
                <a:lnTo>
                  <a:pt x="897802" y="536220"/>
                </a:lnTo>
                <a:lnTo>
                  <a:pt x="891652" y="536220"/>
                </a:lnTo>
                <a:lnTo>
                  <a:pt x="873204" y="536220"/>
                </a:lnTo>
                <a:lnTo>
                  <a:pt x="87320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3203" y="644449"/>
                </a:lnTo>
                <a:lnTo>
                  <a:pt x="87320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5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4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6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8944" y="447671"/>
                </a:lnTo>
                <a:lnTo>
                  <a:pt x="546060" y="447671"/>
                </a:lnTo>
                <a:close/>
                <a:moveTo>
                  <a:pt x="726850" y="443981"/>
                </a:moveTo>
                <a:lnTo>
                  <a:pt x="718241" y="445211"/>
                </a:lnTo>
                <a:lnTo>
                  <a:pt x="709632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4" y="457510"/>
                </a:lnTo>
                <a:lnTo>
                  <a:pt x="685034" y="462429"/>
                </a:lnTo>
                <a:lnTo>
                  <a:pt x="681345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904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5" y="627231"/>
                </a:lnTo>
                <a:lnTo>
                  <a:pt x="686264" y="632151"/>
                </a:lnTo>
                <a:lnTo>
                  <a:pt x="691184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947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7" y="641990"/>
                </a:lnTo>
                <a:lnTo>
                  <a:pt x="758826" y="639530"/>
                </a:lnTo>
                <a:lnTo>
                  <a:pt x="763746" y="635840"/>
                </a:lnTo>
                <a:lnTo>
                  <a:pt x="767435" y="630921"/>
                </a:lnTo>
                <a:lnTo>
                  <a:pt x="772355" y="626001"/>
                </a:lnTo>
                <a:lnTo>
                  <a:pt x="772355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9" y="537451"/>
                </a:lnTo>
                <a:lnTo>
                  <a:pt x="735459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7" y="611243"/>
                </a:lnTo>
                <a:lnTo>
                  <a:pt x="750217" y="613703"/>
                </a:lnTo>
                <a:lnTo>
                  <a:pt x="745298" y="616162"/>
                </a:lnTo>
                <a:lnTo>
                  <a:pt x="741608" y="618622"/>
                </a:lnTo>
                <a:lnTo>
                  <a:pt x="736689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2" y="573117"/>
                </a:lnTo>
                <a:lnTo>
                  <a:pt x="708402" y="541141"/>
                </a:lnTo>
                <a:lnTo>
                  <a:pt x="708402" y="523922"/>
                </a:lnTo>
                <a:lnTo>
                  <a:pt x="709632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1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9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7" y="483337"/>
                </a:lnTo>
                <a:lnTo>
                  <a:pt x="757596" y="488256"/>
                </a:lnTo>
                <a:lnTo>
                  <a:pt x="760056" y="494406"/>
                </a:lnTo>
                <a:lnTo>
                  <a:pt x="761286" y="505474"/>
                </a:lnTo>
                <a:lnTo>
                  <a:pt x="800642" y="505474"/>
                </a:lnTo>
                <a:lnTo>
                  <a:pt x="800642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4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9" y="443981"/>
                </a:lnTo>
                <a:lnTo>
                  <a:pt x="726850" y="443981"/>
                </a:lnTo>
                <a:close/>
                <a:moveTo>
                  <a:pt x="366500" y="386177"/>
                </a:moveTo>
                <a:lnTo>
                  <a:pt x="357891" y="387407"/>
                </a:lnTo>
                <a:lnTo>
                  <a:pt x="349282" y="389867"/>
                </a:lnTo>
                <a:lnTo>
                  <a:pt x="340673" y="393556"/>
                </a:lnTo>
                <a:lnTo>
                  <a:pt x="334524" y="399706"/>
                </a:lnTo>
                <a:lnTo>
                  <a:pt x="328374" y="405855"/>
                </a:lnTo>
                <a:lnTo>
                  <a:pt x="324685" y="414464"/>
                </a:lnTo>
                <a:lnTo>
                  <a:pt x="322225" y="423073"/>
                </a:lnTo>
                <a:lnTo>
                  <a:pt x="320995" y="431682"/>
                </a:lnTo>
                <a:lnTo>
                  <a:pt x="322225" y="440291"/>
                </a:lnTo>
                <a:lnTo>
                  <a:pt x="324685" y="448900"/>
                </a:lnTo>
                <a:lnTo>
                  <a:pt x="328374" y="457509"/>
                </a:lnTo>
                <a:lnTo>
                  <a:pt x="334524" y="463659"/>
                </a:lnTo>
                <a:lnTo>
                  <a:pt x="340673" y="469808"/>
                </a:lnTo>
                <a:lnTo>
                  <a:pt x="349282" y="473498"/>
                </a:lnTo>
                <a:lnTo>
                  <a:pt x="357891" y="475957"/>
                </a:lnTo>
                <a:lnTo>
                  <a:pt x="366500" y="477187"/>
                </a:lnTo>
                <a:lnTo>
                  <a:pt x="375109" y="475957"/>
                </a:lnTo>
                <a:lnTo>
                  <a:pt x="383718" y="473498"/>
                </a:lnTo>
                <a:lnTo>
                  <a:pt x="392327" y="469808"/>
                </a:lnTo>
                <a:lnTo>
                  <a:pt x="398477" y="463659"/>
                </a:lnTo>
                <a:lnTo>
                  <a:pt x="403396" y="457509"/>
                </a:lnTo>
                <a:lnTo>
                  <a:pt x="408316" y="448900"/>
                </a:lnTo>
                <a:lnTo>
                  <a:pt x="410775" y="440291"/>
                </a:lnTo>
                <a:lnTo>
                  <a:pt x="412005" y="431682"/>
                </a:lnTo>
                <a:lnTo>
                  <a:pt x="410775" y="423073"/>
                </a:lnTo>
                <a:lnTo>
                  <a:pt x="408316" y="414464"/>
                </a:lnTo>
                <a:lnTo>
                  <a:pt x="403396" y="405855"/>
                </a:lnTo>
                <a:lnTo>
                  <a:pt x="398477" y="399706"/>
                </a:lnTo>
                <a:lnTo>
                  <a:pt x="392327" y="393556"/>
                </a:lnTo>
                <a:lnTo>
                  <a:pt x="383718" y="389867"/>
                </a:lnTo>
                <a:lnTo>
                  <a:pt x="375109" y="387407"/>
                </a:lnTo>
                <a:lnTo>
                  <a:pt x="366500" y="386177"/>
                </a:lnTo>
                <a:close/>
                <a:moveTo>
                  <a:pt x="204157" y="384948"/>
                </a:moveTo>
                <a:lnTo>
                  <a:pt x="194318" y="386178"/>
                </a:lnTo>
                <a:lnTo>
                  <a:pt x="185709" y="388638"/>
                </a:lnTo>
                <a:lnTo>
                  <a:pt x="178330" y="393557"/>
                </a:lnTo>
                <a:lnTo>
                  <a:pt x="172181" y="398477"/>
                </a:lnTo>
                <a:lnTo>
                  <a:pt x="166031" y="405856"/>
                </a:lnTo>
                <a:lnTo>
                  <a:pt x="162342" y="413235"/>
                </a:lnTo>
                <a:lnTo>
                  <a:pt x="158652" y="421844"/>
                </a:lnTo>
                <a:lnTo>
                  <a:pt x="158652" y="430453"/>
                </a:lnTo>
                <a:lnTo>
                  <a:pt x="158652" y="440292"/>
                </a:lnTo>
                <a:lnTo>
                  <a:pt x="162342" y="448901"/>
                </a:lnTo>
                <a:lnTo>
                  <a:pt x="166031" y="456280"/>
                </a:lnTo>
                <a:lnTo>
                  <a:pt x="172181" y="463660"/>
                </a:lnTo>
                <a:lnTo>
                  <a:pt x="178330" y="468579"/>
                </a:lnTo>
                <a:lnTo>
                  <a:pt x="185709" y="473499"/>
                </a:lnTo>
                <a:lnTo>
                  <a:pt x="194318" y="475958"/>
                </a:lnTo>
                <a:lnTo>
                  <a:pt x="204157" y="477188"/>
                </a:lnTo>
                <a:lnTo>
                  <a:pt x="212766" y="475958"/>
                </a:lnTo>
                <a:lnTo>
                  <a:pt x="221375" y="473499"/>
                </a:lnTo>
                <a:lnTo>
                  <a:pt x="229984" y="468579"/>
                </a:lnTo>
                <a:lnTo>
                  <a:pt x="236134" y="463660"/>
                </a:lnTo>
                <a:lnTo>
                  <a:pt x="242283" y="456280"/>
                </a:lnTo>
                <a:lnTo>
                  <a:pt x="245973" y="448901"/>
                </a:lnTo>
                <a:lnTo>
                  <a:pt x="248432" y="440292"/>
                </a:lnTo>
                <a:lnTo>
                  <a:pt x="249662" y="430453"/>
                </a:lnTo>
                <a:lnTo>
                  <a:pt x="248432" y="421844"/>
                </a:lnTo>
                <a:lnTo>
                  <a:pt x="245973" y="413235"/>
                </a:lnTo>
                <a:lnTo>
                  <a:pt x="242283" y="405856"/>
                </a:lnTo>
                <a:lnTo>
                  <a:pt x="236134" y="398477"/>
                </a:lnTo>
                <a:lnTo>
                  <a:pt x="229984" y="393557"/>
                </a:lnTo>
                <a:lnTo>
                  <a:pt x="221375" y="388638"/>
                </a:lnTo>
                <a:lnTo>
                  <a:pt x="212766" y="386178"/>
                </a:lnTo>
                <a:lnTo>
                  <a:pt x="204157" y="384948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82"/>
          <p:cNvSpPr>
            <a:spLocks/>
          </p:cNvSpPr>
          <p:nvPr userDrawn="1"/>
        </p:nvSpPr>
        <p:spPr bwMode="auto">
          <a:xfrm>
            <a:off x="3222903" y="3970395"/>
            <a:ext cx="1080000" cy="1080000"/>
          </a:xfrm>
          <a:custGeom>
            <a:avLst/>
            <a:gdLst>
              <a:gd name="T0" fmla="*/ 890422 w 1087200"/>
              <a:gd name="T1" fmla="*/ 475957 h 1087200"/>
              <a:gd name="T2" fmla="*/ 918709 w 1087200"/>
              <a:gd name="T3" fmla="*/ 499324 h 1087200"/>
              <a:gd name="T4" fmla="*/ 902721 w 1087200"/>
              <a:gd name="T5" fmla="*/ 534990 h 1087200"/>
              <a:gd name="T6" fmla="*/ 871973 w 1087200"/>
              <a:gd name="T7" fmla="*/ 644449 h 1087200"/>
              <a:gd name="T8" fmla="*/ 950684 w 1087200"/>
              <a:gd name="T9" fmla="*/ 542371 h 1087200"/>
              <a:gd name="T10" fmla="*/ 948225 w 1087200"/>
              <a:gd name="T11" fmla="*/ 466119 h 1087200"/>
              <a:gd name="T12" fmla="*/ 546060 w 1087200"/>
              <a:gd name="T13" fmla="*/ 447671 h 1087200"/>
              <a:gd name="T14" fmla="*/ 597714 w 1087200"/>
              <a:gd name="T15" fmla="*/ 447671 h 1087200"/>
              <a:gd name="T16" fmla="*/ 689953 w 1087200"/>
              <a:gd name="T17" fmla="*/ 457510 h 1087200"/>
              <a:gd name="T18" fmla="*/ 666586 w 1087200"/>
              <a:gd name="T19" fmla="*/ 520233 h 1087200"/>
              <a:gd name="T20" fmla="*/ 681344 w 1087200"/>
              <a:gd name="T21" fmla="*/ 627231 h 1087200"/>
              <a:gd name="T22" fmla="*/ 728079 w 1087200"/>
              <a:gd name="T23" fmla="*/ 646909 h 1087200"/>
              <a:gd name="T24" fmla="*/ 772354 w 1087200"/>
              <a:gd name="T25" fmla="*/ 644449 h 1087200"/>
              <a:gd name="T26" fmla="*/ 762516 w 1087200"/>
              <a:gd name="T27" fmla="*/ 595255 h 1087200"/>
              <a:gd name="T28" fmla="*/ 736688 w 1087200"/>
              <a:gd name="T29" fmla="*/ 618622 h 1087200"/>
              <a:gd name="T30" fmla="*/ 709631 w 1087200"/>
              <a:gd name="T31" fmla="*/ 573117 h 1087200"/>
              <a:gd name="T32" fmla="*/ 723160 w 1087200"/>
              <a:gd name="T33" fmla="*/ 477188 h 1087200"/>
              <a:gd name="T34" fmla="*/ 757596 w 1087200"/>
              <a:gd name="T35" fmla="*/ 488256 h 1087200"/>
              <a:gd name="T36" fmla="*/ 785883 w 1087200"/>
              <a:gd name="T37" fmla="*/ 459969 h 1087200"/>
              <a:gd name="T38" fmla="*/ 316075 w 1087200"/>
              <a:gd name="T39" fmla="*/ 431682 h 1087200"/>
              <a:gd name="T40" fmla="*/ 186939 w 1087200"/>
              <a:gd name="T41" fmla="*/ 670276 h 1087200"/>
              <a:gd name="T42" fmla="*/ 260731 w 1087200"/>
              <a:gd name="T43" fmla="*/ 689953 h 1087200"/>
              <a:gd name="T44" fmla="*/ 274260 w 1087200"/>
              <a:gd name="T45" fmla="*/ 844916 h 1087200"/>
              <a:gd name="T46" fmla="*/ 300087 w 1087200"/>
              <a:gd name="T47" fmla="*/ 836307 h 1087200"/>
              <a:gd name="T48" fmla="*/ 332063 w 1087200"/>
              <a:gd name="T49" fmla="*/ 828928 h 1087200"/>
              <a:gd name="T50" fmla="*/ 352971 w 1087200"/>
              <a:gd name="T51" fmla="*/ 846146 h 1087200"/>
              <a:gd name="T52" fmla="*/ 373879 w 1087200"/>
              <a:gd name="T53" fmla="*/ 828928 h 1087200"/>
              <a:gd name="T54" fmla="*/ 441521 w 1087200"/>
              <a:gd name="T55" fmla="*/ 680115 h 1087200"/>
              <a:gd name="T56" fmla="*/ 327144 w 1087200"/>
              <a:gd name="T57" fmla="*/ 435372 h 1087200"/>
              <a:gd name="T58" fmla="*/ 275489 w 1087200"/>
              <a:gd name="T59" fmla="*/ 250892 h 1087200"/>
              <a:gd name="T60" fmla="*/ 238593 w 1087200"/>
              <a:gd name="T61" fmla="*/ 291478 h 1087200"/>
              <a:gd name="T62" fmla="*/ 236134 w 1087200"/>
              <a:gd name="T63" fmla="*/ 349281 h 1087200"/>
              <a:gd name="T64" fmla="*/ 269340 w 1087200"/>
              <a:gd name="T65" fmla="*/ 393557 h 1087200"/>
              <a:gd name="T66" fmla="*/ 324684 w 1087200"/>
              <a:gd name="T67" fmla="*/ 408315 h 1087200"/>
              <a:gd name="T68" fmla="*/ 375109 w 1087200"/>
              <a:gd name="T69" fmla="*/ 383718 h 1087200"/>
              <a:gd name="T70" fmla="*/ 398476 w 1087200"/>
              <a:gd name="T71" fmla="*/ 333293 h 1087200"/>
              <a:gd name="T72" fmla="*/ 384948 w 1087200"/>
              <a:gd name="T73" fmla="*/ 277949 h 1087200"/>
              <a:gd name="T74" fmla="*/ 340672 w 1087200"/>
              <a:gd name="T75" fmla="*/ 244743 h 1087200"/>
              <a:gd name="T76" fmla="*/ 571887 w 1087200"/>
              <a:gd name="T77" fmla="*/ 0 h 1087200"/>
              <a:gd name="T78" fmla="*/ 755137 w 1087200"/>
              <a:gd name="T79" fmla="*/ 43045 h 1087200"/>
              <a:gd name="T80" fmla="*/ 908870 w 1087200"/>
              <a:gd name="T81" fmla="*/ 141435 h 1087200"/>
              <a:gd name="T82" fmla="*/ 1022017 w 1087200"/>
              <a:gd name="T83" fmla="*/ 284099 h 1087200"/>
              <a:gd name="T84" fmla="*/ 1081051 w 1087200"/>
              <a:gd name="T85" fmla="*/ 461199 h 1087200"/>
              <a:gd name="T86" fmla="*/ 1076131 w 1087200"/>
              <a:gd name="T87" fmla="*/ 653058 h 1087200"/>
              <a:gd name="T88" fmla="*/ 1008489 w 1087200"/>
              <a:gd name="T89" fmla="*/ 825239 h 1087200"/>
              <a:gd name="T90" fmla="*/ 889192 w 1087200"/>
              <a:gd name="T91" fmla="*/ 962984 h 1087200"/>
              <a:gd name="T92" fmla="*/ 730539 w 1087200"/>
              <a:gd name="T93" fmla="*/ 1053994 h 1087200"/>
              <a:gd name="T94" fmla="*/ 543600 w 1087200"/>
              <a:gd name="T95" fmla="*/ 1087200 h 1087200"/>
              <a:gd name="T96" fmla="*/ 356661 w 1087200"/>
              <a:gd name="T97" fmla="*/ 1053994 h 1087200"/>
              <a:gd name="T98" fmla="*/ 198008 w 1087200"/>
              <a:gd name="T99" fmla="*/ 962984 h 1087200"/>
              <a:gd name="T100" fmla="*/ 78711 w 1087200"/>
              <a:gd name="T101" fmla="*/ 825239 h 1087200"/>
              <a:gd name="T102" fmla="*/ 11069 w 1087200"/>
              <a:gd name="T103" fmla="*/ 653058 h 1087200"/>
              <a:gd name="T104" fmla="*/ 6149 w 1087200"/>
              <a:gd name="T105" fmla="*/ 461199 h 1087200"/>
              <a:gd name="T106" fmla="*/ 65183 w 1087200"/>
              <a:gd name="T107" fmla="*/ 284099 h 1087200"/>
              <a:gd name="T108" fmla="*/ 178330 w 1087200"/>
              <a:gd name="T109" fmla="*/ 141435 h 1087200"/>
              <a:gd name="T110" fmla="*/ 332063 w 1087200"/>
              <a:gd name="T111" fmla="*/ 43045 h 1087200"/>
              <a:gd name="T112" fmla="*/ 515313 w 1087200"/>
              <a:gd name="T113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7200" h="1087200"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1974" y="475957"/>
                </a:moveTo>
                <a:lnTo>
                  <a:pt x="890422" y="475957"/>
                </a:lnTo>
                <a:lnTo>
                  <a:pt x="897801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19" y="488256"/>
                </a:lnTo>
                <a:lnTo>
                  <a:pt x="917479" y="493175"/>
                </a:lnTo>
                <a:lnTo>
                  <a:pt x="918709" y="499324"/>
                </a:lnTo>
                <a:lnTo>
                  <a:pt x="918709" y="506704"/>
                </a:lnTo>
                <a:lnTo>
                  <a:pt x="918709" y="514083"/>
                </a:lnTo>
                <a:lnTo>
                  <a:pt x="917479" y="520232"/>
                </a:lnTo>
                <a:lnTo>
                  <a:pt x="915019" y="525151"/>
                </a:lnTo>
                <a:lnTo>
                  <a:pt x="911330" y="528841"/>
                </a:lnTo>
                <a:lnTo>
                  <a:pt x="907640" y="532531"/>
                </a:lnTo>
                <a:lnTo>
                  <a:pt x="902721" y="534990"/>
                </a:lnTo>
                <a:lnTo>
                  <a:pt x="896571" y="536220"/>
                </a:lnTo>
                <a:lnTo>
                  <a:pt x="891652" y="536220"/>
                </a:lnTo>
                <a:lnTo>
                  <a:pt x="871974" y="536220"/>
                </a:lnTo>
                <a:lnTo>
                  <a:pt x="87197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1973" y="644449"/>
                </a:lnTo>
                <a:lnTo>
                  <a:pt x="87197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4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3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5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7714" y="447671"/>
                </a:lnTo>
                <a:lnTo>
                  <a:pt x="546060" y="447671"/>
                </a:lnTo>
                <a:close/>
                <a:moveTo>
                  <a:pt x="726849" y="443981"/>
                </a:moveTo>
                <a:lnTo>
                  <a:pt x="718240" y="445211"/>
                </a:lnTo>
                <a:lnTo>
                  <a:pt x="709631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3" y="457510"/>
                </a:lnTo>
                <a:lnTo>
                  <a:pt x="685034" y="462429"/>
                </a:lnTo>
                <a:lnTo>
                  <a:pt x="681344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781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4" y="627231"/>
                </a:lnTo>
                <a:lnTo>
                  <a:pt x="686264" y="632151"/>
                </a:lnTo>
                <a:lnTo>
                  <a:pt x="691183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824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6" y="641990"/>
                </a:lnTo>
                <a:lnTo>
                  <a:pt x="758826" y="639530"/>
                </a:lnTo>
                <a:lnTo>
                  <a:pt x="763745" y="635840"/>
                </a:lnTo>
                <a:lnTo>
                  <a:pt x="767435" y="630921"/>
                </a:lnTo>
                <a:lnTo>
                  <a:pt x="772354" y="626001"/>
                </a:lnTo>
                <a:lnTo>
                  <a:pt x="772354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8" y="537451"/>
                </a:lnTo>
                <a:lnTo>
                  <a:pt x="735458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6" y="611243"/>
                </a:lnTo>
                <a:lnTo>
                  <a:pt x="750217" y="613703"/>
                </a:lnTo>
                <a:lnTo>
                  <a:pt x="745297" y="616162"/>
                </a:lnTo>
                <a:lnTo>
                  <a:pt x="740378" y="618622"/>
                </a:lnTo>
                <a:lnTo>
                  <a:pt x="736688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1" y="573117"/>
                </a:lnTo>
                <a:lnTo>
                  <a:pt x="708401" y="541141"/>
                </a:lnTo>
                <a:lnTo>
                  <a:pt x="708401" y="523922"/>
                </a:lnTo>
                <a:lnTo>
                  <a:pt x="709631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0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8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6" y="483337"/>
                </a:lnTo>
                <a:lnTo>
                  <a:pt x="757596" y="488256"/>
                </a:lnTo>
                <a:lnTo>
                  <a:pt x="758826" y="494406"/>
                </a:lnTo>
                <a:lnTo>
                  <a:pt x="760056" y="505474"/>
                </a:lnTo>
                <a:lnTo>
                  <a:pt x="800641" y="505474"/>
                </a:lnTo>
                <a:lnTo>
                  <a:pt x="799411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3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8" y="443981"/>
                </a:lnTo>
                <a:lnTo>
                  <a:pt x="726849" y="443981"/>
                </a:lnTo>
                <a:close/>
                <a:moveTo>
                  <a:pt x="316075" y="431682"/>
                </a:moveTo>
                <a:lnTo>
                  <a:pt x="309926" y="432912"/>
                </a:lnTo>
                <a:lnTo>
                  <a:pt x="305006" y="435372"/>
                </a:lnTo>
                <a:lnTo>
                  <a:pt x="300087" y="439061"/>
                </a:lnTo>
                <a:lnTo>
                  <a:pt x="296397" y="443981"/>
                </a:lnTo>
                <a:lnTo>
                  <a:pt x="189399" y="659207"/>
                </a:lnTo>
                <a:lnTo>
                  <a:pt x="188169" y="664126"/>
                </a:lnTo>
                <a:lnTo>
                  <a:pt x="186939" y="670276"/>
                </a:lnTo>
                <a:lnTo>
                  <a:pt x="188169" y="675195"/>
                </a:lnTo>
                <a:lnTo>
                  <a:pt x="190629" y="680115"/>
                </a:lnTo>
                <a:lnTo>
                  <a:pt x="194318" y="683804"/>
                </a:lnTo>
                <a:lnTo>
                  <a:pt x="198008" y="687494"/>
                </a:lnTo>
                <a:lnTo>
                  <a:pt x="202927" y="689953"/>
                </a:lnTo>
                <a:lnTo>
                  <a:pt x="209077" y="689953"/>
                </a:lnTo>
                <a:lnTo>
                  <a:pt x="260731" y="689953"/>
                </a:lnTo>
                <a:lnTo>
                  <a:pt x="260731" y="825238"/>
                </a:lnTo>
                <a:lnTo>
                  <a:pt x="261961" y="828928"/>
                </a:lnTo>
                <a:lnTo>
                  <a:pt x="263191" y="832618"/>
                </a:lnTo>
                <a:lnTo>
                  <a:pt x="264421" y="836307"/>
                </a:lnTo>
                <a:lnTo>
                  <a:pt x="266880" y="839997"/>
                </a:lnTo>
                <a:lnTo>
                  <a:pt x="270570" y="842457"/>
                </a:lnTo>
                <a:lnTo>
                  <a:pt x="274260" y="844916"/>
                </a:lnTo>
                <a:lnTo>
                  <a:pt x="277949" y="846146"/>
                </a:lnTo>
                <a:lnTo>
                  <a:pt x="282869" y="846146"/>
                </a:lnTo>
                <a:lnTo>
                  <a:pt x="286558" y="846146"/>
                </a:lnTo>
                <a:lnTo>
                  <a:pt x="290248" y="844916"/>
                </a:lnTo>
                <a:lnTo>
                  <a:pt x="293937" y="842457"/>
                </a:lnTo>
                <a:lnTo>
                  <a:pt x="297627" y="839997"/>
                </a:lnTo>
                <a:lnTo>
                  <a:pt x="300087" y="836307"/>
                </a:lnTo>
                <a:lnTo>
                  <a:pt x="302546" y="832618"/>
                </a:lnTo>
                <a:lnTo>
                  <a:pt x="303776" y="828928"/>
                </a:lnTo>
                <a:lnTo>
                  <a:pt x="303776" y="825238"/>
                </a:lnTo>
                <a:lnTo>
                  <a:pt x="303776" y="689953"/>
                </a:lnTo>
                <a:lnTo>
                  <a:pt x="330833" y="689953"/>
                </a:lnTo>
                <a:lnTo>
                  <a:pt x="330833" y="825238"/>
                </a:lnTo>
                <a:lnTo>
                  <a:pt x="332063" y="828928"/>
                </a:lnTo>
                <a:lnTo>
                  <a:pt x="333293" y="832618"/>
                </a:lnTo>
                <a:lnTo>
                  <a:pt x="334523" y="836307"/>
                </a:lnTo>
                <a:lnTo>
                  <a:pt x="336983" y="839997"/>
                </a:lnTo>
                <a:lnTo>
                  <a:pt x="340672" y="842457"/>
                </a:lnTo>
                <a:lnTo>
                  <a:pt x="344362" y="844916"/>
                </a:lnTo>
                <a:lnTo>
                  <a:pt x="348052" y="846146"/>
                </a:lnTo>
                <a:lnTo>
                  <a:pt x="352971" y="846146"/>
                </a:lnTo>
                <a:lnTo>
                  <a:pt x="356661" y="846146"/>
                </a:lnTo>
                <a:lnTo>
                  <a:pt x="361580" y="844916"/>
                </a:lnTo>
                <a:lnTo>
                  <a:pt x="364040" y="842457"/>
                </a:lnTo>
                <a:lnTo>
                  <a:pt x="367729" y="839997"/>
                </a:lnTo>
                <a:lnTo>
                  <a:pt x="370189" y="836307"/>
                </a:lnTo>
                <a:lnTo>
                  <a:pt x="372649" y="832618"/>
                </a:lnTo>
                <a:lnTo>
                  <a:pt x="373879" y="828928"/>
                </a:lnTo>
                <a:lnTo>
                  <a:pt x="373879" y="825238"/>
                </a:lnTo>
                <a:lnTo>
                  <a:pt x="373879" y="689953"/>
                </a:lnTo>
                <a:lnTo>
                  <a:pt x="423073" y="689953"/>
                </a:lnTo>
                <a:lnTo>
                  <a:pt x="427993" y="689953"/>
                </a:lnTo>
                <a:lnTo>
                  <a:pt x="432912" y="687494"/>
                </a:lnTo>
                <a:lnTo>
                  <a:pt x="437832" y="683804"/>
                </a:lnTo>
                <a:lnTo>
                  <a:pt x="441521" y="680115"/>
                </a:lnTo>
                <a:lnTo>
                  <a:pt x="443981" y="675195"/>
                </a:lnTo>
                <a:lnTo>
                  <a:pt x="443981" y="670276"/>
                </a:lnTo>
                <a:lnTo>
                  <a:pt x="443981" y="664126"/>
                </a:lnTo>
                <a:lnTo>
                  <a:pt x="442751" y="659207"/>
                </a:lnTo>
                <a:lnTo>
                  <a:pt x="334523" y="443981"/>
                </a:lnTo>
                <a:lnTo>
                  <a:pt x="332063" y="439061"/>
                </a:lnTo>
                <a:lnTo>
                  <a:pt x="327144" y="435372"/>
                </a:lnTo>
                <a:lnTo>
                  <a:pt x="322224" y="432912"/>
                </a:lnTo>
                <a:lnTo>
                  <a:pt x="316075" y="431682"/>
                </a:lnTo>
                <a:close/>
                <a:moveTo>
                  <a:pt x="307466" y="241053"/>
                </a:moveTo>
                <a:lnTo>
                  <a:pt x="298857" y="242283"/>
                </a:lnTo>
                <a:lnTo>
                  <a:pt x="291478" y="244743"/>
                </a:lnTo>
                <a:lnTo>
                  <a:pt x="282869" y="247202"/>
                </a:lnTo>
                <a:lnTo>
                  <a:pt x="275489" y="250892"/>
                </a:lnTo>
                <a:lnTo>
                  <a:pt x="269340" y="254582"/>
                </a:lnTo>
                <a:lnTo>
                  <a:pt x="261961" y="259501"/>
                </a:lnTo>
                <a:lnTo>
                  <a:pt x="257041" y="265650"/>
                </a:lnTo>
                <a:lnTo>
                  <a:pt x="250892" y="271800"/>
                </a:lnTo>
                <a:lnTo>
                  <a:pt x="245973" y="277949"/>
                </a:lnTo>
                <a:lnTo>
                  <a:pt x="242283" y="284098"/>
                </a:lnTo>
                <a:lnTo>
                  <a:pt x="238593" y="291478"/>
                </a:lnTo>
                <a:lnTo>
                  <a:pt x="236134" y="300087"/>
                </a:lnTo>
                <a:lnTo>
                  <a:pt x="233674" y="307466"/>
                </a:lnTo>
                <a:lnTo>
                  <a:pt x="232444" y="316075"/>
                </a:lnTo>
                <a:lnTo>
                  <a:pt x="232444" y="324684"/>
                </a:lnTo>
                <a:lnTo>
                  <a:pt x="232444" y="333293"/>
                </a:lnTo>
                <a:lnTo>
                  <a:pt x="233674" y="341902"/>
                </a:lnTo>
                <a:lnTo>
                  <a:pt x="236134" y="349281"/>
                </a:lnTo>
                <a:lnTo>
                  <a:pt x="238593" y="356661"/>
                </a:lnTo>
                <a:lnTo>
                  <a:pt x="242283" y="364040"/>
                </a:lnTo>
                <a:lnTo>
                  <a:pt x="245973" y="371419"/>
                </a:lnTo>
                <a:lnTo>
                  <a:pt x="250892" y="377568"/>
                </a:lnTo>
                <a:lnTo>
                  <a:pt x="257041" y="383718"/>
                </a:lnTo>
                <a:lnTo>
                  <a:pt x="261961" y="388637"/>
                </a:lnTo>
                <a:lnTo>
                  <a:pt x="269340" y="393557"/>
                </a:lnTo>
                <a:lnTo>
                  <a:pt x="275489" y="398476"/>
                </a:lnTo>
                <a:lnTo>
                  <a:pt x="282869" y="402166"/>
                </a:lnTo>
                <a:lnTo>
                  <a:pt x="291478" y="404626"/>
                </a:lnTo>
                <a:lnTo>
                  <a:pt x="298857" y="407085"/>
                </a:lnTo>
                <a:lnTo>
                  <a:pt x="307466" y="408315"/>
                </a:lnTo>
                <a:lnTo>
                  <a:pt x="316075" y="408315"/>
                </a:lnTo>
                <a:lnTo>
                  <a:pt x="324684" y="408315"/>
                </a:lnTo>
                <a:lnTo>
                  <a:pt x="332063" y="407085"/>
                </a:lnTo>
                <a:lnTo>
                  <a:pt x="340672" y="404626"/>
                </a:lnTo>
                <a:lnTo>
                  <a:pt x="348052" y="402166"/>
                </a:lnTo>
                <a:lnTo>
                  <a:pt x="355431" y="398476"/>
                </a:lnTo>
                <a:lnTo>
                  <a:pt x="362810" y="393557"/>
                </a:lnTo>
                <a:lnTo>
                  <a:pt x="368959" y="388637"/>
                </a:lnTo>
                <a:lnTo>
                  <a:pt x="375109" y="383718"/>
                </a:lnTo>
                <a:lnTo>
                  <a:pt x="380028" y="377568"/>
                </a:lnTo>
                <a:lnTo>
                  <a:pt x="384948" y="371419"/>
                </a:lnTo>
                <a:lnTo>
                  <a:pt x="389867" y="364040"/>
                </a:lnTo>
                <a:lnTo>
                  <a:pt x="392327" y="356661"/>
                </a:lnTo>
                <a:lnTo>
                  <a:pt x="396016" y="349281"/>
                </a:lnTo>
                <a:lnTo>
                  <a:pt x="397246" y="341902"/>
                </a:lnTo>
                <a:lnTo>
                  <a:pt x="398476" y="333293"/>
                </a:lnTo>
                <a:lnTo>
                  <a:pt x="399706" y="324684"/>
                </a:lnTo>
                <a:lnTo>
                  <a:pt x="398476" y="316075"/>
                </a:lnTo>
                <a:lnTo>
                  <a:pt x="397246" y="307466"/>
                </a:lnTo>
                <a:lnTo>
                  <a:pt x="396016" y="300087"/>
                </a:lnTo>
                <a:lnTo>
                  <a:pt x="392327" y="291478"/>
                </a:lnTo>
                <a:lnTo>
                  <a:pt x="389867" y="284098"/>
                </a:lnTo>
                <a:lnTo>
                  <a:pt x="384948" y="277949"/>
                </a:lnTo>
                <a:lnTo>
                  <a:pt x="380028" y="271800"/>
                </a:lnTo>
                <a:lnTo>
                  <a:pt x="375109" y="265650"/>
                </a:lnTo>
                <a:lnTo>
                  <a:pt x="368959" y="259501"/>
                </a:lnTo>
                <a:lnTo>
                  <a:pt x="362810" y="254582"/>
                </a:lnTo>
                <a:lnTo>
                  <a:pt x="355431" y="250892"/>
                </a:lnTo>
                <a:lnTo>
                  <a:pt x="348052" y="247202"/>
                </a:lnTo>
                <a:lnTo>
                  <a:pt x="340672" y="244743"/>
                </a:lnTo>
                <a:lnTo>
                  <a:pt x="332063" y="242283"/>
                </a:lnTo>
                <a:lnTo>
                  <a:pt x="324684" y="241053"/>
                </a:lnTo>
                <a:lnTo>
                  <a:pt x="316075" y="241053"/>
                </a:lnTo>
                <a:lnTo>
                  <a:pt x="307466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140"/>
          <p:cNvSpPr>
            <a:spLocks/>
          </p:cNvSpPr>
          <p:nvPr userDrawn="1"/>
        </p:nvSpPr>
        <p:spPr bwMode="auto">
          <a:xfrm>
            <a:off x="4700206" y="3970395"/>
            <a:ext cx="1080000" cy="1080000"/>
          </a:xfrm>
          <a:custGeom>
            <a:avLst/>
            <a:gdLst>
              <a:gd name="T0" fmla="*/ 890422 w 1087200"/>
              <a:gd name="T1" fmla="*/ 475957 h 1087200"/>
              <a:gd name="T2" fmla="*/ 918709 w 1087200"/>
              <a:gd name="T3" fmla="*/ 499324 h 1087200"/>
              <a:gd name="T4" fmla="*/ 902721 w 1087200"/>
              <a:gd name="T5" fmla="*/ 534990 h 1087200"/>
              <a:gd name="T6" fmla="*/ 873203 w 1087200"/>
              <a:gd name="T7" fmla="*/ 644449 h 1087200"/>
              <a:gd name="T8" fmla="*/ 950685 w 1087200"/>
              <a:gd name="T9" fmla="*/ 542371 h 1087200"/>
              <a:gd name="T10" fmla="*/ 948225 w 1087200"/>
              <a:gd name="T11" fmla="*/ 466119 h 1087200"/>
              <a:gd name="T12" fmla="*/ 546060 w 1087200"/>
              <a:gd name="T13" fmla="*/ 447671 h 1087200"/>
              <a:gd name="T14" fmla="*/ 598944 w 1087200"/>
              <a:gd name="T15" fmla="*/ 447671 h 1087200"/>
              <a:gd name="T16" fmla="*/ 689954 w 1087200"/>
              <a:gd name="T17" fmla="*/ 457510 h 1087200"/>
              <a:gd name="T18" fmla="*/ 666586 w 1087200"/>
              <a:gd name="T19" fmla="*/ 520233 h 1087200"/>
              <a:gd name="T20" fmla="*/ 681345 w 1087200"/>
              <a:gd name="T21" fmla="*/ 627231 h 1087200"/>
              <a:gd name="T22" fmla="*/ 728079 w 1087200"/>
              <a:gd name="T23" fmla="*/ 646909 h 1087200"/>
              <a:gd name="T24" fmla="*/ 772355 w 1087200"/>
              <a:gd name="T25" fmla="*/ 644449 h 1087200"/>
              <a:gd name="T26" fmla="*/ 762516 w 1087200"/>
              <a:gd name="T27" fmla="*/ 595255 h 1087200"/>
              <a:gd name="T28" fmla="*/ 736689 w 1087200"/>
              <a:gd name="T29" fmla="*/ 618622 h 1087200"/>
              <a:gd name="T30" fmla="*/ 709632 w 1087200"/>
              <a:gd name="T31" fmla="*/ 573117 h 1087200"/>
              <a:gd name="T32" fmla="*/ 723160 w 1087200"/>
              <a:gd name="T33" fmla="*/ 477188 h 1087200"/>
              <a:gd name="T34" fmla="*/ 757596 w 1087200"/>
              <a:gd name="T35" fmla="*/ 488256 h 1087200"/>
              <a:gd name="T36" fmla="*/ 785883 w 1087200"/>
              <a:gd name="T37" fmla="*/ 459969 h 1087200"/>
              <a:gd name="T38" fmla="*/ 227525 w 1087200"/>
              <a:gd name="T39" fmla="*/ 437832 h 1087200"/>
              <a:gd name="T40" fmla="*/ 210307 w 1087200"/>
              <a:gd name="T41" fmla="*/ 458740 h 1087200"/>
              <a:gd name="T42" fmla="*/ 223836 w 1087200"/>
              <a:gd name="T43" fmla="*/ 646909 h 1087200"/>
              <a:gd name="T44" fmla="*/ 264421 w 1087200"/>
              <a:gd name="T45" fmla="*/ 836308 h 1087200"/>
              <a:gd name="T46" fmla="*/ 290249 w 1087200"/>
              <a:gd name="T47" fmla="*/ 844917 h 1087200"/>
              <a:gd name="T48" fmla="*/ 303777 w 1087200"/>
              <a:gd name="T49" fmla="*/ 648139 h 1087200"/>
              <a:gd name="T50" fmla="*/ 340673 w 1087200"/>
              <a:gd name="T51" fmla="*/ 842458 h 1087200"/>
              <a:gd name="T52" fmla="*/ 367730 w 1087200"/>
              <a:gd name="T53" fmla="*/ 839998 h 1087200"/>
              <a:gd name="T54" fmla="*/ 403396 w 1087200"/>
              <a:gd name="T55" fmla="*/ 648139 h 1087200"/>
              <a:gd name="T56" fmla="*/ 420614 w 1087200"/>
              <a:gd name="T57" fmla="*/ 626001 h 1087200"/>
              <a:gd name="T58" fmla="*/ 407086 w 1087200"/>
              <a:gd name="T59" fmla="*/ 439062 h 1087200"/>
              <a:gd name="T60" fmla="*/ 291478 w 1087200"/>
              <a:gd name="T61" fmla="*/ 244743 h 1087200"/>
              <a:gd name="T62" fmla="*/ 245973 w 1087200"/>
              <a:gd name="T63" fmla="*/ 277949 h 1087200"/>
              <a:gd name="T64" fmla="*/ 232444 w 1087200"/>
              <a:gd name="T65" fmla="*/ 333293 h 1087200"/>
              <a:gd name="T66" fmla="*/ 257042 w 1087200"/>
              <a:gd name="T67" fmla="*/ 383718 h 1087200"/>
              <a:gd name="T68" fmla="*/ 307466 w 1087200"/>
              <a:gd name="T69" fmla="*/ 408315 h 1087200"/>
              <a:gd name="T70" fmla="*/ 362810 w 1087200"/>
              <a:gd name="T71" fmla="*/ 393557 h 1087200"/>
              <a:gd name="T72" fmla="*/ 396017 w 1087200"/>
              <a:gd name="T73" fmla="*/ 349281 h 1087200"/>
              <a:gd name="T74" fmla="*/ 392327 w 1087200"/>
              <a:gd name="T75" fmla="*/ 291478 h 1087200"/>
              <a:gd name="T76" fmla="*/ 355431 w 1087200"/>
              <a:gd name="T77" fmla="*/ 250892 h 1087200"/>
              <a:gd name="T78" fmla="*/ 515313 w 1087200"/>
              <a:gd name="T79" fmla="*/ 0 h 1087200"/>
              <a:gd name="T80" fmla="*/ 705942 w 1087200"/>
              <a:gd name="T81" fmla="*/ 24597 h 1087200"/>
              <a:gd name="T82" fmla="*/ 869514 w 1087200"/>
              <a:gd name="T83" fmla="*/ 108228 h 1087200"/>
              <a:gd name="T84" fmla="*/ 994960 w 1087200"/>
              <a:gd name="T85" fmla="*/ 239824 h 1087200"/>
              <a:gd name="T86" fmla="*/ 1069982 w 1087200"/>
              <a:gd name="T87" fmla="*/ 407085 h 1087200"/>
              <a:gd name="T88" fmla="*/ 1084740 w 1087200"/>
              <a:gd name="T89" fmla="*/ 598944 h 1087200"/>
              <a:gd name="T90" fmla="*/ 1034316 w 1087200"/>
              <a:gd name="T91" fmla="*/ 779734 h 1087200"/>
              <a:gd name="T92" fmla="*/ 928548 w 1087200"/>
              <a:gd name="T93" fmla="*/ 928548 h 1087200"/>
              <a:gd name="T94" fmla="*/ 779734 w 1087200"/>
              <a:gd name="T95" fmla="*/ 1033086 h 1087200"/>
              <a:gd name="T96" fmla="*/ 598944 w 1087200"/>
              <a:gd name="T97" fmla="*/ 1084740 h 1087200"/>
              <a:gd name="T98" fmla="*/ 408315 w 1087200"/>
              <a:gd name="T99" fmla="*/ 1069982 h 1087200"/>
              <a:gd name="T100" fmla="*/ 239824 w 1087200"/>
              <a:gd name="T101" fmla="*/ 994960 h 1087200"/>
              <a:gd name="T102" fmla="*/ 108228 w 1087200"/>
              <a:gd name="T103" fmla="*/ 868284 h 1087200"/>
              <a:gd name="T104" fmla="*/ 24598 w 1087200"/>
              <a:gd name="T105" fmla="*/ 704712 h 1087200"/>
              <a:gd name="T106" fmla="*/ 1230 w 1087200"/>
              <a:gd name="T107" fmla="*/ 515313 h 1087200"/>
              <a:gd name="T108" fmla="*/ 43045 w 1087200"/>
              <a:gd name="T109" fmla="*/ 332063 h 1087200"/>
              <a:gd name="T110" fmla="*/ 141435 w 1087200"/>
              <a:gd name="T111" fmla="*/ 178330 h 1087200"/>
              <a:gd name="T112" fmla="*/ 284099 w 1087200"/>
              <a:gd name="T113" fmla="*/ 65183 h 1087200"/>
              <a:gd name="T114" fmla="*/ 461199 w 1087200"/>
              <a:gd name="T11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3204" y="475957"/>
                </a:moveTo>
                <a:lnTo>
                  <a:pt x="890422" y="475957"/>
                </a:lnTo>
                <a:lnTo>
                  <a:pt x="897802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20" y="488256"/>
                </a:lnTo>
                <a:lnTo>
                  <a:pt x="917480" y="493175"/>
                </a:lnTo>
                <a:lnTo>
                  <a:pt x="918709" y="499324"/>
                </a:lnTo>
                <a:lnTo>
                  <a:pt x="919939" y="506704"/>
                </a:lnTo>
                <a:lnTo>
                  <a:pt x="918709" y="514083"/>
                </a:lnTo>
                <a:lnTo>
                  <a:pt x="917480" y="520232"/>
                </a:lnTo>
                <a:lnTo>
                  <a:pt x="915020" y="525151"/>
                </a:lnTo>
                <a:lnTo>
                  <a:pt x="911330" y="528841"/>
                </a:lnTo>
                <a:lnTo>
                  <a:pt x="907641" y="532531"/>
                </a:lnTo>
                <a:lnTo>
                  <a:pt x="902721" y="534990"/>
                </a:lnTo>
                <a:lnTo>
                  <a:pt x="897802" y="536220"/>
                </a:lnTo>
                <a:lnTo>
                  <a:pt x="891652" y="536220"/>
                </a:lnTo>
                <a:lnTo>
                  <a:pt x="873204" y="536220"/>
                </a:lnTo>
                <a:lnTo>
                  <a:pt x="87320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3203" y="644449"/>
                </a:lnTo>
                <a:lnTo>
                  <a:pt x="87320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5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4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6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8944" y="447671"/>
                </a:lnTo>
                <a:lnTo>
                  <a:pt x="546060" y="447671"/>
                </a:lnTo>
                <a:close/>
                <a:moveTo>
                  <a:pt x="726850" y="443981"/>
                </a:moveTo>
                <a:lnTo>
                  <a:pt x="718241" y="445211"/>
                </a:lnTo>
                <a:lnTo>
                  <a:pt x="709632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4" y="457510"/>
                </a:lnTo>
                <a:lnTo>
                  <a:pt x="685034" y="462429"/>
                </a:lnTo>
                <a:lnTo>
                  <a:pt x="681345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904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5" y="627231"/>
                </a:lnTo>
                <a:lnTo>
                  <a:pt x="686264" y="632151"/>
                </a:lnTo>
                <a:lnTo>
                  <a:pt x="691184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947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7" y="641990"/>
                </a:lnTo>
                <a:lnTo>
                  <a:pt x="758826" y="639530"/>
                </a:lnTo>
                <a:lnTo>
                  <a:pt x="763746" y="635840"/>
                </a:lnTo>
                <a:lnTo>
                  <a:pt x="767435" y="630921"/>
                </a:lnTo>
                <a:lnTo>
                  <a:pt x="772355" y="626001"/>
                </a:lnTo>
                <a:lnTo>
                  <a:pt x="772355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9" y="537451"/>
                </a:lnTo>
                <a:lnTo>
                  <a:pt x="735459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7" y="611243"/>
                </a:lnTo>
                <a:lnTo>
                  <a:pt x="750217" y="613703"/>
                </a:lnTo>
                <a:lnTo>
                  <a:pt x="745298" y="616162"/>
                </a:lnTo>
                <a:lnTo>
                  <a:pt x="741608" y="618622"/>
                </a:lnTo>
                <a:lnTo>
                  <a:pt x="736689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2" y="573117"/>
                </a:lnTo>
                <a:lnTo>
                  <a:pt x="708402" y="541141"/>
                </a:lnTo>
                <a:lnTo>
                  <a:pt x="708402" y="523922"/>
                </a:lnTo>
                <a:lnTo>
                  <a:pt x="709632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1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9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7" y="483337"/>
                </a:lnTo>
                <a:lnTo>
                  <a:pt x="757596" y="488256"/>
                </a:lnTo>
                <a:lnTo>
                  <a:pt x="760056" y="494406"/>
                </a:lnTo>
                <a:lnTo>
                  <a:pt x="761286" y="505474"/>
                </a:lnTo>
                <a:lnTo>
                  <a:pt x="800642" y="505474"/>
                </a:lnTo>
                <a:lnTo>
                  <a:pt x="800642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4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9" y="443981"/>
                </a:lnTo>
                <a:lnTo>
                  <a:pt x="726850" y="443981"/>
                </a:lnTo>
                <a:close/>
                <a:moveTo>
                  <a:pt x="227525" y="437832"/>
                </a:moveTo>
                <a:lnTo>
                  <a:pt x="223836" y="439062"/>
                </a:lnTo>
                <a:lnTo>
                  <a:pt x="220146" y="441522"/>
                </a:lnTo>
                <a:lnTo>
                  <a:pt x="216457" y="443981"/>
                </a:lnTo>
                <a:lnTo>
                  <a:pt x="213997" y="447671"/>
                </a:lnTo>
                <a:lnTo>
                  <a:pt x="212767" y="451361"/>
                </a:lnTo>
                <a:lnTo>
                  <a:pt x="211537" y="455050"/>
                </a:lnTo>
                <a:lnTo>
                  <a:pt x="210307" y="458740"/>
                </a:lnTo>
                <a:lnTo>
                  <a:pt x="210307" y="626001"/>
                </a:lnTo>
                <a:lnTo>
                  <a:pt x="211537" y="630921"/>
                </a:lnTo>
                <a:lnTo>
                  <a:pt x="212767" y="634610"/>
                </a:lnTo>
                <a:lnTo>
                  <a:pt x="213997" y="638300"/>
                </a:lnTo>
                <a:lnTo>
                  <a:pt x="216457" y="641990"/>
                </a:lnTo>
                <a:lnTo>
                  <a:pt x="220146" y="644449"/>
                </a:lnTo>
                <a:lnTo>
                  <a:pt x="223836" y="646909"/>
                </a:lnTo>
                <a:lnTo>
                  <a:pt x="227525" y="648139"/>
                </a:lnTo>
                <a:lnTo>
                  <a:pt x="232445" y="648139"/>
                </a:lnTo>
                <a:lnTo>
                  <a:pt x="260732" y="648139"/>
                </a:lnTo>
                <a:lnTo>
                  <a:pt x="260732" y="825239"/>
                </a:lnTo>
                <a:lnTo>
                  <a:pt x="261962" y="828929"/>
                </a:lnTo>
                <a:lnTo>
                  <a:pt x="263191" y="832619"/>
                </a:lnTo>
                <a:lnTo>
                  <a:pt x="264421" y="836308"/>
                </a:lnTo>
                <a:lnTo>
                  <a:pt x="266881" y="839998"/>
                </a:lnTo>
                <a:lnTo>
                  <a:pt x="270571" y="842458"/>
                </a:lnTo>
                <a:lnTo>
                  <a:pt x="274260" y="844917"/>
                </a:lnTo>
                <a:lnTo>
                  <a:pt x="277950" y="846147"/>
                </a:lnTo>
                <a:lnTo>
                  <a:pt x="282869" y="846147"/>
                </a:lnTo>
                <a:lnTo>
                  <a:pt x="286559" y="846147"/>
                </a:lnTo>
                <a:lnTo>
                  <a:pt x="290249" y="844917"/>
                </a:lnTo>
                <a:lnTo>
                  <a:pt x="293938" y="842458"/>
                </a:lnTo>
                <a:lnTo>
                  <a:pt x="297628" y="839998"/>
                </a:lnTo>
                <a:lnTo>
                  <a:pt x="300087" y="836308"/>
                </a:lnTo>
                <a:lnTo>
                  <a:pt x="302547" y="832619"/>
                </a:lnTo>
                <a:lnTo>
                  <a:pt x="303777" y="828929"/>
                </a:lnTo>
                <a:lnTo>
                  <a:pt x="303777" y="825239"/>
                </a:lnTo>
                <a:lnTo>
                  <a:pt x="303777" y="648139"/>
                </a:lnTo>
                <a:lnTo>
                  <a:pt x="330834" y="648139"/>
                </a:lnTo>
                <a:lnTo>
                  <a:pt x="330834" y="825239"/>
                </a:lnTo>
                <a:lnTo>
                  <a:pt x="332064" y="828929"/>
                </a:lnTo>
                <a:lnTo>
                  <a:pt x="333294" y="832619"/>
                </a:lnTo>
                <a:lnTo>
                  <a:pt x="334524" y="836308"/>
                </a:lnTo>
                <a:lnTo>
                  <a:pt x="336983" y="839998"/>
                </a:lnTo>
                <a:lnTo>
                  <a:pt x="340673" y="842458"/>
                </a:lnTo>
                <a:lnTo>
                  <a:pt x="344363" y="844917"/>
                </a:lnTo>
                <a:lnTo>
                  <a:pt x="348052" y="846147"/>
                </a:lnTo>
                <a:lnTo>
                  <a:pt x="352972" y="846147"/>
                </a:lnTo>
                <a:lnTo>
                  <a:pt x="356661" y="846147"/>
                </a:lnTo>
                <a:lnTo>
                  <a:pt x="361581" y="844917"/>
                </a:lnTo>
                <a:lnTo>
                  <a:pt x="364040" y="842458"/>
                </a:lnTo>
                <a:lnTo>
                  <a:pt x="367730" y="839998"/>
                </a:lnTo>
                <a:lnTo>
                  <a:pt x="370190" y="836308"/>
                </a:lnTo>
                <a:lnTo>
                  <a:pt x="372649" y="832619"/>
                </a:lnTo>
                <a:lnTo>
                  <a:pt x="373879" y="828929"/>
                </a:lnTo>
                <a:lnTo>
                  <a:pt x="373879" y="825239"/>
                </a:lnTo>
                <a:lnTo>
                  <a:pt x="373879" y="648139"/>
                </a:lnTo>
                <a:lnTo>
                  <a:pt x="399707" y="648139"/>
                </a:lnTo>
                <a:lnTo>
                  <a:pt x="403396" y="648139"/>
                </a:lnTo>
                <a:lnTo>
                  <a:pt x="407086" y="646909"/>
                </a:lnTo>
                <a:lnTo>
                  <a:pt x="410775" y="644449"/>
                </a:lnTo>
                <a:lnTo>
                  <a:pt x="414465" y="641990"/>
                </a:lnTo>
                <a:lnTo>
                  <a:pt x="416925" y="638300"/>
                </a:lnTo>
                <a:lnTo>
                  <a:pt x="419384" y="634610"/>
                </a:lnTo>
                <a:lnTo>
                  <a:pt x="420614" y="630921"/>
                </a:lnTo>
                <a:lnTo>
                  <a:pt x="420614" y="626001"/>
                </a:lnTo>
                <a:lnTo>
                  <a:pt x="420614" y="458740"/>
                </a:lnTo>
                <a:lnTo>
                  <a:pt x="420614" y="455050"/>
                </a:lnTo>
                <a:lnTo>
                  <a:pt x="419384" y="451361"/>
                </a:lnTo>
                <a:lnTo>
                  <a:pt x="416925" y="447671"/>
                </a:lnTo>
                <a:lnTo>
                  <a:pt x="414465" y="443981"/>
                </a:lnTo>
                <a:lnTo>
                  <a:pt x="410775" y="441522"/>
                </a:lnTo>
                <a:lnTo>
                  <a:pt x="407086" y="439062"/>
                </a:lnTo>
                <a:lnTo>
                  <a:pt x="403396" y="437832"/>
                </a:lnTo>
                <a:lnTo>
                  <a:pt x="399707" y="437832"/>
                </a:lnTo>
                <a:lnTo>
                  <a:pt x="232445" y="437832"/>
                </a:lnTo>
                <a:lnTo>
                  <a:pt x="227525" y="437832"/>
                </a:lnTo>
                <a:close/>
                <a:moveTo>
                  <a:pt x="307466" y="241053"/>
                </a:moveTo>
                <a:lnTo>
                  <a:pt x="298857" y="242283"/>
                </a:lnTo>
                <a:lnTo>
                  <a:pt x="291478" y="244743"/>
                </a:lnTo>
                <a:lnTo>
                  <a:pt x="282869" y="247202"/>
                </a:lnTo>
                <a:lnTo>
                  <a:pt x="275490" y="250892"/>
                </a:lnTo>
                <a:lnTo>
                  <a:pt x="269340" y="254582"/>
                </a:lnTo>
                <a:lnTo>
                  <a:pt x="261961" y="259501"/>
                </a:lnTo>
                <a:lnTo>
                  <a:pt x="257042" y="265650"/>
                </a:lnTo>
                <a:lnTo>
                  <a:pt x="250892" y="271800"/>
                </a:lnTo>
                <a:lnTo>
                  <a:pt x="245973" y="277949"/>
                </a:lnTo>
                <a:lnTo>
                  <a:pt x="242283" y="284098"/>
                </a:lnTo>
                <a:lnTo>
                  <a:pt x="238594" y="291478"/>
                </a:lnTo>
                <a:lnTo>
                  <a:pt x="236134" y="300087"/>
                </a:lnTo>
                <a:lnTo>
                  <a:pt x="233674" y="307466"/>
                </a:lnTo>
                <a:lnTo>
                  <a:pt x="232444" y="316075"/>
                </a:lnTo>
                <a:lnTo>
                  <a:pt x="232444" y="324684"/>
                </a:lnTo>
                <a:lnTo>
                  <a:pt x="232444" y="333293"/>
                </a:lnTo>
                <a:lnTo>
                  <a:pt x="233674" y="341902"/>
                </a:lnTo>
                <a:lnTo>
                  <a:pt x="236134" y="349281"/>
                </a:lnTo>
                <a:lnTo>
                  <a:pt x="238594" y="356661"/>
                </a:lnTo>
                <a:lnTo>
                  <a:pt x="242283" y="364040"/>
                </a:lnTo>
                <a:lnTo>
                  <a:pt x="245973" y="371419"/>
                </a:lnTo>
                <a:lnTo>
                  <a:pt x="250892" y="377568"/>
                </a:lnTo>
                <a:lnTo>
                  <a:pt x="257042" y="383718"/>
                </a:lnTo>
                <a:lnTo>
                  <a:pt x="261961" y="388637"/>
                </a:lnTo>
                <a:lnTo>
                  <a:pt x="269340" y="393557"/>
                </a:lnTo>
                <a:lnTo>
                  <a:pt x="275490" y="398476"/>
                </a:lnTo>
                <a:lnTo>
                  <a:pt x="282869" y="402166"/>
                </a:lnTo>
                <a:lnTo>
                  <a:pt x="291478" y="404626"/>
                </a:lnTo>
                <a:lnTo>
                  <a:pt x="298857" y="407085"/>
                </a:lnTo>
                <a:lnTo>
                  <a:pt x="307466" y="408315"/>
                </a:lnTo>
                <a:lnTo>
                  <a:pt x="316075" y="408315"/>
                </a:lnTo>
                <a:lnTo>
                  <a:pt x="324684" y="408315"/>
                </a:lnTo>
                <a:lnTo>
                  <a:pt x="332064" y="407085"/>
                </a:lnTo>
                <a:lnTo>
                  <a:pt x="340673" y="404626"/>
                </a:lnTo>
                <a:lnTo>
                  <a:pt x="348052" y="402166"/>
                </a:lnTo>
                <a:lnTo>
                  <a:pt x="355431" y="398476"/>
                </a:lnTo>
                <a:lnTo>
                  <a:pt x="362810" y="393557"/>
                </a:lnTo>
                <a:lnTo>
                  <a:pt x="368960" y="388637"/>
                </a:lnTo>
                <a:lnTo>
                  <a:pt x="375109" y="383718"/>
                </a:lnTo>
                <a:lnTo>
                  <a:pt x="380028" y="377568"/>
                </a:lnTo>
                <a:lnTo>
                  <a:pt x="384948" y="371419"/>
                </a:lnTo>
                <a:lnTo>
                  <a:pt x="389867" y="364040"/>
                </a:lnTo>
                <a:lnTo>
                  <a:pt x="392327" y="356661"/>
                </a:lnTo>
                <a:lnTo>
                  <a:pt x="396017" y="349281"/>
                </a:lnTo>
                <a:lnTo>
                  <a:pt x="397247" y="341902"/>
                </a:lnTo>
                <a:lnTo>
                  <a:pt x="398476" y="333293"/>
                </a:lnTo>
                <a:lnTo>
                  <a:pt x="399706" y="324684"/>
                </a:lnTo>
                <a:lnTo>
                  <a:pt x="398476" y="316075"/>
                </a:lnTo>
                <a:lnTo>
                  <a:pt x="397247" y="307466"/>
                </a:lnTo>
                <a:lnTo>
                  <a:pt x="396017" y="300087"/>
                </a:lnTo>
                <a:lnTo>
                  <a:pt x="392327" y="291478"/>
                </a:lnTo>
                <a:lnTo>
                  <a:pt x="389867" y="284098"/>
                </a:lnTo>
                <a:lnTo>
                  <a:pt x="384948" y="277949"/>
                </a:lnTo>
                <a:lnTo>
                  <a:pt x="380028" y="271800"/>
                </a:lnTo>
                <a:lnTo>
                  <a:pt x="375109" y="265650"/>
                </a:lnTo>
                <a:lnTo>
                  <a:pt x="368960" y="259501"/>
                </a:lnTo>
                <a:lnTo>
                  <a:pt x="362810" y="254582"/>
                </a:lnTo>
                <a:lnTo>
                  <a:pt x="355431" y="250892"/>
                </a:lnTo>
                <a:lnTo>
                  <a:pt x="348052" y="247202"/>
                </a:lnTo>
                <a:lnTo>
                  <a:pt x="340673" y="244743"/>
                </a:lnTo>
                <a:lnTo>
                  <a:pt x="332064" y="242283"/>
                </a:lnTo>
                <a:lnTo>
                  <a:pt x="324684" y="241053"/>
                </a:lnTo>
                <a:lnTo>
                  <a:pt x="316075" y="241053"/>
                </a:lnTo>
                <a:lnTo>
                  <a:pt x="307466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6177509" y="3970395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9138179" y="5072554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9132115" y="397039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3224679" y="5413253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268297" y="5413253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0609418" y="3970395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1746488" y="5413253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2086719" y="3970395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0646068" y="507258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12081342" y="5073961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209337" y="6515438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1745600" y="6512650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3234935" y="6519822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6186001" y="6512178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6181059" y="5413253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4707956" y="6518564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4702870" y="5413253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06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10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37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88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70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46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53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35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35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86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75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hyperlink" Target="https://www.youtube.com/watch?v=euGHcnyUo84" TargetMode="External"/><Relationship Id="rId1" Type="http://schemas.openxmlformats.org/officeDocument/2006/relationships/slideLayout" Target="../slideLayouts/slideLayout26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B741DCBC-DE99-2F4B-9F82-33D8F84F481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/>
          <a:srcRect l="20218" t="10266" r="21192" b="24742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644343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7 March 2020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James Corden, Margot Robbie, </a:t>
            </a:r>
            <a:r>
              <a:rPr lang="en-US" dirty="0" err="1">
                <a:solidFill>
                  <a:schemeClr val="accent6"/>
                </a:solidFill>
              </a:rPr>
              <a:t>Domhnall</a:t>
            </a:r>
            <a:r>
              <a:rPr lang="en-US" dirty="0">
                <a:solidFill>
                  <a:schemeClr val="accent6"/>
                </a:solidFill>
              </a:rPr>
              <a:t> Gleeson, Rose Byrn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Will Gluck (</a:t>
            </a:r>
            <a:r>
              <a:rPr lang="en-US" i="1" dirty="0">
                <a:solidFill>
                  <a:schemeClr val="accent6"/>
                </a:solidFill>
              </a:rPr>
              <a:t>Peter Rabbit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Peter Rabbit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Peter Rabbit </a:t>
            </a:r>
            <a:r>
              <a:rPr lang="en-US" dirty="0">
                <a:solidFill>
                  <a:schemeClr val="accent6"/>
                </a:solidFill>
              </a:rPr>
              <a:t>was the breakout family film of 2018, and one of the top 10 highest grossing films at the UK box office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7-15 Children index: 315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.6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The lovable rogue is back. Bea, Thomas, and the rabbits have created a makeshift family, but despite his best efforts, Peter can't seem to shake his mischievous reputation. </a:t>
            </a: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Peter rabbit 2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GB" dirty="0"/>
              <a:t>Sequel to the one of the biggest family films of recent years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3700872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23595362-3983-46B8-8F13-A780C6D45631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0B2AC5A5-2C1D-40B7-81C6-05DA8291850F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6BC1A207-515F-42D6-BF08-B5CF753DA50C}"/>
    </a:ext>
  </a:extLst>
</a:theme>
</file>

<file path=ppt/theme/theme1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069CD9C-5FBB-48B5-913D-843E8FB70E04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6F7F147C-BAC2-4DED-A9C9-6C43FE9BFD78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517AFC7-1F88-4F1D-80C6-0CBC4A2E8871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A348F4C2-7D79-4F94-97AA-26B56EF019A5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3991FEB-B9F3-4AAD-98BA-E3F49A43B05F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E5FF6FD5-6F8E-4DE9-A490-53E4E2D4BFE3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C6934FD2-4B33-49D8-BF40-838658C475D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4</Words>
  <Application>Microsoft Macintosh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8" baseType="lpstr">
      <vt:lpstr>ＭＳ Ｐゴシック</vt:lpstr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think-cell Slide</vt:lpstr>
      <vt:lpstr>Peter rabbit 2</vt:lpstr>
    </vt:vector>
  </TitlesOfParts>
  <Manager/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3-25T11:13:20Z</dcterms:created>
  <dcterms:modified xsi:type="dcterms:W3CDTF">2020-02-04T14:57:3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